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notesSlides/notesSlide7.xml" ContentType="application/vnd.openxmlformats-officedocument.presentationml.notesSlide+xml"/>
  <Override PartName="/ppt/tags/tag64.xml" ContentType="application/vnd.openxmlformats-officedocument.presentationml.tags+xml"/>
  <Override PartName="/ppt/notesSlides/notesSlide8.xml" ContentType="application/vnd.openxmlformats-officedocument.presentationml.notesSlide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notesSlides/notesSlide10.xml" ContentType="application/vnd.openxmlformats-officedocument.presentationml.notesSlide+xml"/>
  <Override PartName="/ppt/tags/tag67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  <p:sldMasterId id="2147483671" r:id="rId6"/>
  </p:sldMasterIdLst>
  <p:notesMasterIdLst>
    <p:notesMasterId r:id="rId18"/>
  </p:notesMasterIdLst>
  <p:sldIdLst>
    <p:sldId id="256" r:id="rId7"/>
    <p:sldId id="257" r:id="rId8"/>
    <p:sldId id="266" r:id="rId9"/>
    <p:sldId id="280" r:id="rId10"/>
    <p:sldId id="279" r:id="rId11"/>
    <p:sldId id="278" r:id="rId12"/>
    <p:sldId id="281" r:id="rId13"/>
    <p:sldId id="277" r:id="rId14"/>
    <p:sldId id="282" r:id="rId15"/>
    <p:sldId id="265" r:id="rId16"/>
    <p:sldId id="258" r:id="rId17"/>
  </p:sldIdLst>
  <p:sldSz cx="12192000" cy="6858000"/>
  <p:notesSz cx="6858000" cy="9144000"/>
  <p:custDataLst>
    <p:tags r:id="rId1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29" userDrawn="1">
          <p15:clr>
            <a:srgbClr val="A4A3A4"/>
          </p15:clr>
        </p15:guide>
        <p15:guide id="3" pos="7151" userDrawn="1">
          <p15:clr>
            <a:srgbClr val="A4A3A4"/>
          </p15:clr>
        </p15:guide>
        <p15:guide id="4" orient="horz" pos="1139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pos="4067" userDrawn="1">
          <p15:clr>
            <a:srgbClr val="A4A3A4"/>
          </p15:clr>
        </p15:guide>
        <p15:guide id="7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ysland, Linn Alexandra" initials="TLA" lastIdx="1" clrIdx="0">
    <p:extLst>
      <p:ext uri="{19B8F6BF-5375-455C-9EA6-DF929625EA0E}">
        <p15:presenceInfo xmlns:p15="http://schemas.microsoft.com/office/powerpoint/2012/main" userId="S::ltysland@deloitte.no::9ff34668-37e5-40b3-ba32-9cf58cecaa2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CEB"/>
    <a:srgbClr val="CDD6D4"/>
    <a:srgbClr val="327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487BF7-BBF4-4FD3-A9A7-6C9B1B38D3F0}" v="2921" dt="2021-06-01T11:39:29.3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814" autoAdjust="0"/>
    <p:restoredTop sz="94660"/>
  </p:normalViewPr>
  <p:slideViewPr>
    <p:cSldViewPr snapToGrid="0">
      <p:cViewPr>
        <p:scale>
          <a:sx n="120" d="100"/>
          <a:sy n="120" d="100"/>
        </p:scale>
        <p:origin x="876" y="-168"/>
      </p:cViewPr>
      <p:guideLst>
        <p:guide orient="horz" pos="2160"/>
        <p:guide pos="529"/>
        <p:guide pos="7151"/>
        <p:guide orient="horz" pos="1139"/>
        <p:guide orient="horz" pos="3725"/>
        <p:guide pos="406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ysland, Linn Alexandra" userId="9ff34668-37e5-40b3-ba32-9cf58cecaa20" providerId="ADAL" clId="{29487BF7-BBF4-4FD3-A9A7-6C9B1B38D3F0}"/>
    <pc:docChg chg="custSel addSld delSld modSld modMainMaster modNotesMaster">
      <pc:chgData name="Tysland, Linn Alexandra" userId="9ff34668-37e5-40b3-ba32-9cf58cecaa20" providerId="ADAL" clId="{29487BF7-BBF4-4FD3-A9A7-6C9B1B38D3F0}" dt="2021-06-01T11:40:58.861" v="5598" actId="20577"/>
      <pc:docMkLst>
        <pc:docMk/>
      </pc:docMkLst>
      <pc:sldChg chg="modSp mod modNotes">
        <pc:chgData name="Tysland, Linn Alexandra" userId="9ff34668-37e5-40b3-ba32-9cf58cecaa20" providerId="ADAL" clId="{29487BF7-BBF4-4FD3-A9A7-6C9B1B38D3F0}" dt="2021-06-01T06:56:42.110" v="4071"/>
        <pc:sldMkLst>
          <pc:docMk/>
          <pc:sldMk cId="3556084321" sldId="256"/>
        </pc:sldMkLst>
        <pc:spChg chg="mod">
          <ac:chgData name="Tysland, Linn Alexandra" userId="9ff34668-37e5-40b3-ba32-9cf58cecaa20" providerId="ADAL" clId="{29487BF7-BBF4-4FD3-A9A7-6C9B1B38D3F0}" dt="2021-06-01T06:56:40.101" v="3247" actId="20577"/>
          <ac:spMkLst>
            <pc:docMk/>
            <pc:sldMk cId="3556084321" sldId="256"/>
            <ac:spMk id="5" creationId="{D934B7E9-9DAB-4FB2-9903-6FCCBCBE664C}"/>
          </ac:spMkLst>
        </pc:spChg>
        <pc:spChg chg="mod">
          <ac:chgData name="Tysland, Linn Alexandra" userId="9ff34668-37e5-40b3-ba32-9cf58cecaa20" providerId="ADAL" clId="{29487BF7-BBF4-4FD3-A9A7-6C9B1B38D3F0}" dt="2021-06-01T06:56:40.104" v="3249" actId="947"/>
          <ac:spMkLst>
            <pc:docMk/>
            <pc:sldMk cId="3556084321" sldId="256"/>
            <ac:spMk id="7" creationId="{14F70017-F718-47D0-82D6-6FEAC9283AC7}"/>
          </ac:spMkLst>
        </pc:spChg>
        <pc:spChg chg="mod">
          <ac:chgData name="Tysland, Linn Alexandra" userId="9ff34668-37e5-40b3-ba32-9cf58cecaa20" providerId="ADAL" clId="{29487BF7-BBF4-4FD3-A9A7-6C9B1B38D3F0}" dt="2021-06-01T06:56:41.588" v="3770" actId="948"/>
          <ac:spMkLst>
            <pc:docMk/>
            <pc:sldMk cId="3556084321" sldId="256"/>
            <ac:spMk id="9" creationId="{259C57A3-DCF5-41F1-8685-17521427BCBF}"/>
          </ac:spMkLst>
        </pc:spChg>
        <pc:graphicFrameChg chg="mod">
          <ac:chgData name="Tysland, Linn Alexandra" userId="9ff34668-37e5-40b3-ba32-9cf58cecaa20" providerId="ADAL" clId="{29487BF7-BBF4-4FD3-A9A7-6C9B1B38D3F0}" dt="2021-06-01T06:56:42.110" v="4071"/>
          <ac:graphicFrameMkLst>
            <pc:docMk/>
            <pc:sldMk cId="3556084321" sldId="256"/>
            <ac:graphicFrameMk id="4" creationId="{200633B5-C80B-457D-B35F-DB33E371BB98}"/>
          </ac:graphicFrameMkLst>
        </pc:graphicFrameChg>
      </pc:sldChg>
      <pc:sldChg chg="modSp mod modNotes">
        <pc:chgData name="Tysland, Linn Alexandra" userId="9ff34668-37e5-40b3-ba32-9cf58cecaa20" providerId="ADAL" clId="{29487BF7-BBF4-4FD3-A9A7-6C9B1B38D3F0}" dt="2021-06-01T06:56:42.095" v="4065"/>
        <pc:sldMkLst>
          <pc:docMk/>
          <pc:sldMk cId="135299314" sldId="257"/>
        </pc:sldMkLst>
        <pc:spChg chg="mod">
          <ac:chgData name="Tysland, Linn Alexandra" userId="9ff34668-37e5-40b3-ba32-9cf58cecaa20" providerId="ADAL" clId="{29487BF7-BBF4-4FD3-A9A7-6C9B1B38D3F0}" dt="2021-06-01T06:56:41.523" v="3733" actId="948"/>
          <ac:spMkLst>
            <pc:docMk/>
            <pc:sldMk cId="135299314" sldId="257"/>
            <ac:spMk id="2" creationId="{B3540213-970E-4538-9296-DFCB0240B885}"/>
          </ac:spMkLst>
        </pc:spChg>
        <pc:spChg chg="mod">
          <ac:chgData name="Tysland, Linn Alexandra" userId="9ff34668-37e5-40b3-ba32-9cf58cecaa20" providerId="ADAL" clId="{29487BF7-BBF4-4FD3-A9A7-6C9B1B38D3F0}" dt="2021-06-01T06:56:40.118" v="3255" actId="947"/>
          <ac:spMkLst>
            <pc:docMk/>
            <pc:sldMk cId="135299314" sldId="257"/>
            <ac:spMk id="11" creationId="{F61F3059-C7E8-46B1-BA65-26D1D18969D5}"/>
          </ac:spMkLst>
        </pc:spChg>
        <pc:spChg chg="mod">
          <ac:chgData name="Tysland, Linn Alexandra" userId="9ff34668-37e5-40b3-ba32-9cf58cecaa20" providerId="ADAL" clId="{29487BF7-BBF4-4FD3-A9A7-6C9B1B38D3F0}" dt="2021-06-01T06:56:40.121" v="3257" actId="947"/>
          <ac:spMkLst>
            <pc:docMk/>
            <pc:sldMk cId="135299314" sldId="257"/>
            <ac:spMk id="12" creationId="{806A1A41-9876-4F9A-9C53-5F089F47FAB3}"/>
          </ac:spMkLst>
        </pc:spChg>
        <pc:graphicFrameChg chg="mod">
          <ac:chgData name="Tysland, Linn Alexandra" userId="9ff34668-37e5-40b3-ba32-9cf58cecaa20" providerId="ADAL" clId="{29487BF7-BBF4-4FD3-A9A7-6C9B1B38D3F0}" dt="2021-06-01T06:56:42.095" v="4065"/>
          <ac:graphicFrameMkLst>
            <pc:docMk/>
            <pc:sldMk cId="135299314" sldId="257"/>
            <ac:graphicFrameMk id="4" creationId="{49069C3C-DFD7-4C21-B03A-10E73AB85E44}"/>
          </ac:graphicFrameMkLst>
        </pc:graphicFrameChg>
      </pc:sldChg>
      <pc:sldChg chg="modNotes">
        <pc:chgData name="Tysland, Linn Alexandra" userId="9ff34668-37e5-40b3-ba32-9cf58cecaa20" providerId="ADAL" clId="{29487BF7-BBF4-4FD3-A9A7-6C9B1B38D3F0}" dt="2021-06-01T06:56:40.968" v="3732" actId="20577"/>
        <pc:sldMkLst>
          <pc:docMk/>
          <pc:sldMk cId="1334585762" sldId="258"/>
        </pc:sldMkLst>
      </pc:sldChg>
      <pc:sldChg chg="addSp delSp modSp add del mod modNotes">
        <pc:chgData name="Tysland, Linn Alexandra" userId="9ff34668-37e5-40b3-ba32-9cf58cecaa20" providerId="ADAL" clId="{29487BF7-BBF4-4FD3-A9A7-6C9B1B38D3F0}" dt="2021-06-01T11:40:32.651" v="5596" actId="404"/>
        <pc:sldMkLst>
          <pc:docMk/>
          <pc:sldMk cId="1503422007" sldId="265"/>
        </pc:sldMkLst>
        <pc:spChg chg="mod">
          <ac:chgData name="Tysland, Linn Alexandra" userId="9ff34668-37e5-40b3-ba32-9cf58cecaa20" providerId="ADAL" clId="{29487BF7-BBF4-4FD3-A9A7-6C9B1B38D3F0}" dt="2021-06-01T06:56:41.865" v="3952" actId="948"/>
          <ac:spMkLst>
            <pc:docMk/>
            <pc:sldMk cId="1503422007" sldId="265"/>
            <ac:spMk id="2" creationId="{59B87E28-D98F-471A-BDD9-B55F3C895BA2}"/>
          </ac:spMkLst>
        </pc:spChg>
        <pc:spChg chg="add del mod modVis">
          <ac:chgData name="Tysland, Linn Alexandra" userId="9ff34668-37e5-40b3-ba32-9cf58cecaa20" providerId="ADAL" clId="{29487BF7-BBF4-4FD3-A9A7-6C9B1B38D3F0}" dt="2021-05-28T08:43:26.166" v="1006"/>
          <ac:spMkLst>
            <pc:docMk/>
            <pc:sldMk cId="1503422007" sldId="265"/>
            <ac:spMk id="3" creationId="{18E64E68-2EC1-411E-BA35-F5D460CF9E52}"/>
          </ac:spMkLst>
        </pc:spChg>
        <pc:spChg chg="add del mod modVis">
          <ac:chgData name="Tysland, Linn Alexandra" userId="9ff34668-37e5-40b3-ba32-9cf58cecaa20" providerId="ADAL" clId="{29487BF7-BBF4-4FD3-A9A7-6C9B1B38D3F0}" dt="2021-05-28T08:43:27.474" v="1049"/>
          <ac:spMkLst>
            <pc:docMk/>
            <pc:sldMk cId="1503422007" sldId="265"/>
            <ac:spMk id="4" creationId="{41EC46C7-2CC6-4789-A77F-3358AE82D26F}"/>
          </ac:spMkLst>
        </pc:spChg>
        <pc:spChg chg="add del mod modVis">
          <ac:chgData name="Tysland, Linn Alexandra" userId="9ff34668-37e5-40b3-ba32-9cf58cecaa20" providerId="ADAL" clId="{29487BF7-BBF4-4FD3-A9A7-6C9B1B38D3F0}" dt="2021-06-01T06:56:42.156" v="4097"/>
          <ac:spMkLst>
            <pc:docMk/>
            <pc:sldMk cId="1503422007" sldId="265"/>
            <ac:spMk id="6" creationId="{4FA21A93-599D-4176-9A85-7B9735C047EC}"/>
          </ac:spMkLst>
        </pc:spChg>
        <pc:spChg chg="mod">
          <ac:chgData name="Tysland, Linn Alexandra" userId="9ff34668-37e5-40b3-ba32-9cf58cecaa20" providerId="ADAL" clId="{29487BF7-BBF4-4FD3-A9A7-6C9B1B38D3F0}" dt="2021-06-01T11:40:03.508" v="5592" actId="14100"/>
          <ac:spMkLst>
            <pc:docMk/>
            <pc:sldMk cId="1503422007" sldId="265"/>
            <ac:spMk id="20" creationId="{6823D38A-BD03-45F1-9213-352EBB416FFF}"/>
          </ac:spMkLst>
        </pc:spChg>
        <pc:spChg chg="mod">
          <ac:chgData name="Tysland, Linn Alexandra" userId="9ff34668-37e5-40b3-ba32-9cf58cecaa20" providerId="ADAL" clId="{29487BF7-BBF4-4FD3-A9A7-6C9B1B38D3F0}" dt="2021-06-01T06:56:40.746" v="3639" actId="20577"/>
          <ac:spMkLst>
            <pc:docMk/>
            <pc:sldMk cId="1503422007" sldId="265"/>
            <ac:spMk id="21" creationId="{819FDA64-63C5-41BA-BDA6-A948BD39268D}"/>
          </ac:spMkLst>
        </pc:spChg>
        <pc:spChg chg="mod">
          <ac:chgData name="Tysland, Linn Alexandra" userId="9ff34668-37e5-40b3-ba32-9cf58cecaa20" providerId="ADAL" clId="{29487BF7-BBF4-4FD3-A9A7-6C9B1B38D3F0}" dt="2021-06-01T11:40:32.651" v="5596" actId="404"/>
          <ac:spMkLst>
            <pc:docMk/>
            <pc:sldMk cId="1503422007" sldId="265"/>
            <ac:spMk id="22" creationId="{4C765175-9F91-444A-9FCE-61BB5BC2C38C}"/>
          </ac:spMkLst>
        </pc:spChg>
        <pc:spChg chg="mod">
          <ac:chgData name="Tysland, Linn Alexandra" userId="9ff34668-37e5-40b3-ba32-9cf58cecaa20" providerId="ADAL" clId="{29487BF7-BBF4-4FD3-A9A7-6C9B1B38D3F0}" dt="2021-06-01T11:40:18.615" v="5595" actId="404"/>
          <ac:spMkLst>
            <pc:docMk/>
            <pc:sldMk cId="1503422007" sldId="265"/>
            <ac:spMk id="23" creationId="{7339E395-27C8-4D4D-8720-03A602006C8A}"/>
          </ac:spMkLst>
        </pc:spChg>
        <pc:spChg chg="mod">
          <ac:chgData name="Tysland, Linn Alexandra" userId="9ff34668-37e5-40b3-ba32-9cf58cecaa20" providerId="ADAL" clId="{29487BF7-BBF4-4FD3-A9A7-6C9B1B38D3F0}" dt="2021-06-01T11:40:14.391" v="5594" actId="404"/>
          <ac:spMkLst>
            <pc:docMk/>
            <pc:sldMk cId="1503422007" sldId="265"/>
            <ac:spMk id="24" creationId="{BBB8E8BB-A369-4C77-97C4-4A22DC3F8D3F}"/>
          </ac:spMkLst>
        </pc:spChg>
        <pc:spChg chg="mod">
          <ac:chgData name="Tysland, Linn Alexandra" userId="9ff34668-37e5-40b3-ba32-9cf58cecaa20" providerId="ADAL" clId="{29487BF7-BBF4-4FD3-A9A7-6C9B1B38D3F0}" dt="2021-06-01T06:56:40.764" v="3649" actId="20577"/>
          <ac:spMkLst>
            <pc:docMk/>
            <pc:sldMk cId="1503422007" sldId="265"/>
            <ac:spMk id="25" creationId="{A04DD6FC-D3E3-46F3-ADE9-E6BA6E78CA11}"/>
          </ac:spMkLst>
        </pc:spChg>
        <pc:spChg chg="mod">
          <ac:chgData name="Tysland, Linn Alexandra" userId="9ff34668-37e5-40b3-ba32-9cf58cecaa20" providerId="ADAL" clId="{29487BF7-BBF4-4FD3-A9A7-6C9B1B38D3F0}" dt="2021-06-01T11:40:32.651" v="5596" actId="404"/>
          <ac:spMkLst>
            <pc:docMk/>
            <pc:sldMk cId="1503422007" sldId="265"/>
            <ac:spMk id="26" creationId="{4EE1ECB6-5920-46B7-BCCF-B594D42CDDFB}"/>
          </ac:spMkLst>
        </pc:spChg>
        <pc:graphicFrameChg chg="mod">
          <ac:chgData name="Tysland, Linn Alexandra" userId="9ff34668-37e5-40b3-ba32-9cf58cecaa20" providerId="ADAL" clId="{29487BF7-BBF4-4FD3-A9A7-6C9B1B38D3F0}" dt="2021-06-01T06:56:42.162" v="4099"/>
          <ac:graphicFrameMkLst>
            <pc:docMk/>
            <pc:sldMk cId="1503422007" sldId="265"/>
            <ac:graphicFrameMk id="5" creationId="{74C5D027-F189-4BFF-99A0-9957D4884EE4}"/>
          </ac:graphicFrameMkLst>
        </pc:graphicFrameChg>
        <pc:picChg chg="add mod">
          <ac:chgData name="Tysland, Linn Alexandra" userId="9ff34668-37e5-40b3-ba32-9cf58cecaa20" providerId="ADAL" clId="{29487BF7-BBF4-4FD3-A9A7-6C9B1B38D3F0}" dt="2021-05-28T08:38:02.776" v="710"/>
          <ac:picMkLst>
            <pc:docMk/>
            <pc:sldMk cId="1503422007" sldId="265"/>
            <ac:picMk id="11" creationId="{D90E4358-9352-425B-A570-8D4C49C7ED2D}"/>
          </ac:picMkLst>
        </pc:picChg>
      </pc:sldChg>
      <pc:sldChg chg="addSp delSp modSp mod">
        <pc:chgData name="Tysland, Linn Alexandra" userId="9ff34668-37e5-40b3-ba32-9cf58cecaa20" providerId="ADAL" clId="{29487BF7-BBF4-4FD3-A9A7-6C9B1B38D3F0}" dt="2021-06-01T08:48:24.500" v="4198"/>
        <pc:sldMkLst>
          <pc:docMk/>
          <pc:sldMk cId="2288793794" sldId="266"/>
        </pc:sldMkLst>
        <pc:spChg chg="mod">
          <ac:chgData name="Tysland, Linn Alexandra" userId="9ff34668-37e5-40b3-ba32-9cf58cecaa20" providerId="ADAL" clId="{29487BF7-BBF4-4FD3-A9A7-6C9B1B38D3F0}" dt="2021-06-01T08:48:04.308" v="4147" actId="948"/>
          <ac:spMkLst>
            <pc:docMk/>
            <pc:sldMk cId="2288793794" sldId="266"/>
            <ac:spMk id="2" creationId="{F470383C-115B-474C-AEB6-F19C3CAA2317}"/>
          </ac:spMkLst>
        </pc:spChg>
        <pc:spChg chg="add del mod modVis">
          <ac:chgData name="Tysland, Linn Alexandra" userId="9ff34668-37e5-40b3-ba32-9cf58cecaa20" providerId="ADAL" clId="{29487BF7-BBF4-4FD3-A9A7-6C9B1B38D3F0}" dt="2021-06-01T08:48:00.632" v="4143"/>
          <ac:spMkLst>
            <pc:docMk/>
            <pc:sldMk cId="2288793794" sldId="266"/>
            <ac:spMk id="3" creationId="{957F6482-C4B4-4951-9969-E354F28E43B9}"/>
          </ac:spMkLst>
        </pc:spChg>
        <pc:spChg chg="add del mod modVis">
          <ac:chgData name="Tysland, Linn Alexandra" userId="9ff34668-37e5-40b3-ba32-9cf58cecaa20" providerId="ADAL" clId="{29487BF7-BBF4-4FD3-A9A7-6C9B1B38D3F0}" dt="2021-06-01T08:48:04.374" v="4194"/>
          <ac:spMkLst>
            <pc:docMk/>
            <pc:sldMk cId="2288793794" sldId="266"/>
            <ac:spMk id="5" creationId="{E779D8AF-D7A7-4B90-943C-16A36DE2BB3F}"/>
          </ac:spMkLst>
        </pc:spChg>
        <pc:spChg chg="del mod">
          <ac:chgData name="Tysland, Linn Alexandra" userId="9ff34668-37e5-40b3-ba32-9cf58cecaa20" providerId="ADAL" clId="{29487BF7-BBF4-4FD3-A9A7-6C9B1B38D3F0}" dt="2021-06-01T08:48:19.107" v="4197"/>
          <ac:spMkLst>
            <pc:docMk/>
            <pc:sldMk cId="2288793794" sldId="266"/>
            <ac:spMk id="6" creationId="{15D1F07A-C223-4060-B485-61BA35046CE9}"/>
          </ac:spMkLst>
        </pc:spChg>
        <pc:spChg chg="del mod">
          <ac:chgData name="Tysland, Linn Alexandra" userId="9ff34668-37e5-40b3-ba32-9cf58cecaa20" providerId="ADAL" clId="{29487BF7-BBF4-4FD3-A9A7-6C9B1B38D3F0}" dt="2021-06-01T08:48:24.500" v="4198"/>
          <ac:spMkLst>
            <pc:docMk/>
            <pc:sldMk cId="2288793794" sldId="266"/>
            <ac:spMk id="7" creationId="{B2F2018E-2EC5-4888-B3C1-076D97B65BDA}"/>
          </ac:spMkLst>
        </pc:spChg>
        <pc:graphicFrameChg chg="mod">
          <ac:chgData name="Tysland, Linn Alexandra" userId="9ff34668-37e5-40b3-ba32-9cf58cecaa20" providerId="ADAL" clId="{29487BF7-BBF4-4FD3-A9A7-6C9B1B38D3F0}" dt="2021-06-01T08:48:04.378" v="4196"/>
          <ac:graphicFrameMkLst>
            <pc:docMk/>
            <pc:sldMk cId="2288793794" sldId="266"/>
            <ac:graphicFrameMk id="4" creationId="{14A1A616-5D2B-4272-AE8C-25F48B9B5440}"/>
          </ac:graphicFrameMkLst>
        </pc:graphicFrameChg>
      </pc:sldChg>
      <pc:sldChg chg="addSp delSp modSp mod modNotes">
        <pc:chgData name="Tysland, Linn Alexandra" userId="9ff34668-37e5-40b3-ba32-9cf58cecaa20" providerId="ADAL" clId="{29487BF7-BBF4-4FD3-A9A7-6C9B1B38D3F0}" dt="2021-06-01T11:40:58.861" v="5598" actId="20577"/>
        <pc:sldMkLst>
          <pc:docMk/>
          <pc:sldMk cId="109250706" sldId="277"/>
        </pc:sldMkLst>
        <pc:spChg chg="mod">
          <ac:chgData name="Tysland, Linn Alexandra" userId="9ff34668-37e5-40b3-ba32-9cf58cecaa20" providerId="ADAL" clId="{29487BF7-BBF4-4FD3-A9A7-6C9B1B38D3F0}" dt="2021-06-01T06:56:41.591" v="3771" actId="948"/>
          <ac:spMkLst>
            <pc:docMk/>
            <pc:sldMk cId="109250706" sldId="277"/>
            <ac:spMk id="2" creationId="{2FE70502-D4DD-48B6-A730-3948453973DA}"/>
          </ac:spMkLst>
        </pc:spChg>
        <pc:spChg chg="add del mod modVis">
          <ac:chgData name="Tysland, Linn Alexandra" userId="9ff34668-37e5-40b3-ba32-9cf58cecaa20" providerId="ADAL" clId="{29487BF7-BBF4-4FD3-A9A7-6C9B1B38D3F0}" dt="2021-05-28T08:37:02.288" v="689"/>
          <ac:spMkLst>
            <pc:docMk/>
            <pc:sldMk cId="109250706" sldId="277"/>
            <ac:spMk id="3" creationId="{40FE8F1D-7EB0-4BDE-A6C3-998B93D1F1F3}"/>
          </ac:spMkLst>
        </pc:spChg>
        <pc:spChg chg="add del mod modVis">
          <ac:chgData name="Tysland, Linn Alexandra" userId="9ff34668-37e5-40b3-ba32-9cf58cecaa20" providerId="ADAL" clId="{29487BF7-BBF4-4FD3-A9A7-6C9B1B38D3F0}" dt="2021-05-28T08:57:21.436" v="1505"/>
          <ac:spMkLst>
            <pc:docMk/>
            <pc:sldMk cId="109250706" sldId="277"/>
            <ac:spMk id="6" creationId="{21ECAEE9-B6A5-4458-B699-EEB80843D1EB}"/>
          </ac:spMkLst>
        </pc:spChg>
        <pc:spChg chg="add del mod modVis">
          <ac:chgData name="Tysland, Linn Alexandra" userId="9ff34668-37e5-40b3-ba32-9cf58cecaa20" providerId="ADAL" clId="{29487BF7-BBF4-4FD3-A9A7-6C9B1B38D3F0}" dt="2021-06-01T06:56:42.112" v="4073"/>
          <ac:spMkLst>
            <pc:docMk/>
            <pc:sldMk cId="109250706" sldId="277"/>
            <ac:spMk id="7" creationId="{A1A1CD2E-4115-4783-B8AE-07BEE509DC2B}"/>
          </ac:spMkLst>
        </pc:spChg>
        <pc:graphicFrameChg chg="mod modGraphic">
          <ac:chgData name="Tysland, Linn Alexandra" userId="9ff34668-37e5-40b3-ba32-9cf58cecaa20" providerId="ADAL" clId="{29487BF7-BBF4-4FD3-A9A7-6C9B1B38D3F0}" dt="2021-06-01T11:40:58.861" v="5598" actId="20577"/>
          <ac:graphicFrameMkLst>
            <pc:docMk/>
            <pc:sldMk cId="109250706" sldId="277"/>
            <ac:graphicFrameMk id="4" creationId="{87515F42-731B-432F-A16F-199A205F5E6F}"/>
          </ac:graphicFrameMkLst>
        </pc:graphicFrameChg>
        <pc:graphicFrameChg chg="mod">
          <ac:chgData name="Tysland, Linn Alexandra" userId="9ff34668-37e5-40b3-ba32-9cf58cecaa20" providerId="ADAL" clId="{29487BF7-BBF4-4FD3-A9A7-6C9B1B38D3F0}" dt="2021-06-01T06:56:42.117" v="4075"/>
          <ac:graphicFrameMkLst>
            <pc:docMk/>
            <pc:sldMk cId="109250706" sldId="277"/>
            <ac:graphicFrameMk id="5" creationId="{C2924385-D24C-4542-B4A4-14AFABE43DFE}"/>
          </ac:graphicFrameMkLst>
        </pc:graphicFrameChg>
      </pc:sldChg>
      <pc:sldChg chg="addSp delSp modSp mod modNotes">
        <pc:chgData name="Tysland, Linn Alexandra" userId="9ff34668-37e5-40b3-ba32-9cf58cecaa20" providerId="ADAL" clId="{29487BF7-BBF4-4FD3-A9A7-6C9B1B38D3F0}" dt="2021-06-01T06:56:42.106" v="4069"/>
        <pc:sldMkLst>
          <pc:docMk/>
          <pc:sldMk cId="455755933" sldId="278"/>
        </pc:sldMkLst>
        <pc:spChg chg="mod">
          <ac:chgData name="Tysland, Linn Alexandra" userId="9ff34668-37e5-40b3-ba32-9cf58cecaa20" providerId="ADAL" clId="{29487BF7-BBF4-4FD3-A9A7-6C9B1B38D3F0}" dt="2021-06-01T06:56:41.530" v="3734" actId="948"/>
          <ac:spMkLst>
            <pc:docMk/>
            <pc:sldMk cId="455755933" sldId="278"/>
            <ac:spMk id="2" creationId="{C5F39D1F-F713-4534-9FB0-FA7372AFF88A}"/>
          </ac:spMkLst>
        </pc:spChg>
        <pc:spChg chg="add del mod modVis">
          <ac:chgData name="Tysland, Linn Alexandra" userId="9ff34668-37e5-40b3-ba32-9cf58cecaa20" providerId="ADAL" clId="{29487BF7-BBF4-4FD3-A9A7-6C9B1B38D3F0}" dt="2021-05-28T08:37:02.277" v="683"/>
          <ac:spMkLst>
            <pc:docMk/>
            <pc:sldMk cId="455755933" sldId="278"/>
            <ac:spMk id="3" creationId="{1F67B3C2-2008-45E3-A4C2-FC999AE95317}"/>
          </ac:spMkLst>
        </pc:spChg>
        <pc:spChg chg="mod">
          <ac:chgData name="Tysland, Linn Alexandra" userId="9ff34668-37e5-40b3-ba32-9cf58cecaa20" providerId="ADAL" clId="{29487BF7-BBF4-4FD3-A9A7-6C9B1B38D3F0}" dt="2021-06-01T06:56:41.988" v="4024"/>
          <ac:spMkLst>
            <pc:docMk/>
            <pc:sldMk cId="455755933" sldId="278"/>
            <ac:spMk id="4" creationId="{2A65B8C4-6750-4926-826C-65B97A5E7CF5}"/>
          </ac:spMkLst>
        </pc:spChg>
        <pc:spChg chg="add mod">
          <ac:chgData name="Tysland, Linn Alexandra" userId="9ff34668-37e5-40b3-ba32-9cf58cecaa20" providerId="ADAL" clId="{29487BF7-BBF4-4FD3-A9A7-6C9B1B38D3F0}" dt="2021-06-01T06:56:40.473" v="3437" actId="947"/>
          <ac:spMkLst>
            <pc:docMk/>
            <pc:sldMk cId="455755933" sldId="278"/>
            <ac:spMk id="5" creationId="{9D40F106-8D25-4186-8C12-9DB3EBB2E127}"/>
          </ac:spMkLst>
        </pc:spChg>
        <pc:spChg chg="mod">
          <ac:chgData name="Tysland, Linn Alexandra" userId="9ff34668-37e5-40b3-ba32-9cf58cecaa20" providerId="ADAL" clId="{29487BF7-BBF4-4FD3-A9A7-6C9B1B38D3F0}" dt="2021-06-01T06:56:41.992" v="4025"/>
          <ac:spMkLst>
            <pc:docMk/>
            <pc:sldMk cId="455755933" sldId="278"/>
            <ac:spMk id="6" creationId="{2A65B8C4-6750-4926-826C-65B97A5E7CF5}"/>
          </ac:spMkLst>
        </pc:spChg>
        <pc:spChg chg="add del mod modVis">
          <ac:chgData name="Tysland, Linn Alexandra" userId="9ff34668-37e5-40b3-ba32-9cf58cecaa20" providerId="ADAL" clId="{29487BF7-BBF4-4FD3-A9A7-6C9B1B38D3F0}" dt="2021-06-01T06:56:42.097" v="4067"/>
          <ac:spMkLst>
            <pc:docMk/>
            <pc:sldMk cId="455755933" sldId="278"/>
            <ac:spMk id="7" creationId="{9C01F6A5-A195-450D-887B-FFF8F32A9173}"/>
          </ac:spMkLst>
        </pc:spChg>
        <pc:spChg chg="mod">
          <ac:chgData name="Tysland, Linn Alexandra" userId="9ff34668-37e5-40b3-ba32-9cf58cecaa20" providerId="ADAL" clId="{29487BF7-BBF4-4FD3-A9A7-6C9B1B38D3F0}" dt="2021-06-01T06:56:41.993" v="4026"/>
          <ac:spMkLst>
            <pc:docMk/>
            <pc:sldMk cId="455755933" sldId="278"/>
            <ac:spMk id="9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1.995" v="4027"/>
          <ac:spMkLst>
            <pc:docMk/>
            <pc:sldMk cId="455755933" sldId="278"/>
            <ac:spMk id="10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1.997" v="4028"/>
          <ac:spMkLst>
            <pc:docMk/>
            <pc:sldMk cId="455755933" sldId="278"/>
            <ac:spMk id="11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2.020" v="4040" actId="948"/>
          <ac:spMkLst>
            <pc:docMk/>
            <pc:sldMk cId="455755933" sldId="278"/>
            <ac:spMk id="38" creationId="{B3346E52-6AC3-4348-AC75-C61876BE80D2}"/>
          </ac:spMkLst>
        </pc:spChg>
        <pc:spChg chg="mod">
          <ac:chgData name="Tysland, Linn Alexandra" userId="9ff34668-37e5-40b3-ba32-9cf58cecaa20" providerId="ADAL" clId="{29487BF7-BBF4-4FD3-A9A7-6C9B1B38D3F0}" dt="2021-06-01T06:56:42.001" v="4029" actId="948"/>
          <ac:spMkLst>
            <pc:docMk/>
            <pc:sldMk cId="455755933" sldId="278"/>
            <ac:spMk id="224" creationId="{49F77CA7-ADC6-4D80-B654-BA538748D8D8}"/>
          </ac:spMkLst>
        </pc:spChg>
        <pc:spChg chg="mod">
          <ac:chgData name="Tysland, Linn Alexandra" userId="9ff34668-37e5-40b3-ba32-9cf58cecaa20" providerId="ADAL" clId="{29487BF7-BBF4-4FD3-A9A7-6C9B1B38D3F0}" dt="2021-06-01T06:56:42.026" v="4043" actId="948"/>
          <ac:spMkLst>
            <pc:docMk/>
            <pc:sldMk cId="455755933" sldId="278"/>
            <ac:spMk id="254" creationId="{85C24F8C-EC27-43CB-B625-7D4AA69EAC60}"/>
          </ac:spMkLst>
        </pc:spChg>
        <pc:spChg chg="mod">
          <ac:chgData name="Tysland, Linn Alexandra" userId="9ff34668-37e5-40b3-ba32-9cf58cecaa20" providerId="ADAL" clId="{29487BF7-BBF4-4FD3-A9A7-6C9B1B38D3F0}" dt="2021-06-01T06:56:42.033" v="4046" actId="948"/>
          <ac:spMkLst>
            <pc:docMk/>
            <pc:sldMk cId="455755933" sldId="278"/>
            <ac:spMk id="255" creationId="{3D633F8A-B7A2-4DA9-8C65-1F43B62F9865}"/>
          </ac:spMkLst>
        </pc:spChg>
        <pc:spChg chg="mod">
          <ac:chgData name="Tysland, Linn Alexandra" userId="9ff34668-37e5-40b3-ba32-9cf58cecaa20" providerId="ADAL" clId="{29487BF7-BBF4-4FD3-A9A7-6C9B1B38D3F0}" dt="2021-06-01T06:56:42.039" v="4049" actId="948"/>
          <ac:spMkLst>
            <pc:docMk/>
            <pc:sldMk cId="455755933" sldId="278"/>
            <ac:spMk id="256" creationId="{9E3364BB-BEC1-422C-BBE5-5FB5E13C9354}"/>
          </ac:spMkLst>
        </pc:spChg>
        <pc:spChg chg="mod">
          <ac:chgData name="Tysland, Linn Alexandra" userId="9ff34668-37e5-40b3-ba32-9cf58cecaa20" providerId="ADAL" clId="{29487BF7-BBF4-4FD3-A9A7-6C9B1B38D3F0}" dt="2021-06-01T06:56:42.045" v="4052" actId="948"/>
          <ac:spMkLst>
            <pc:docMk/>
            <pc:sldMk cId="455755933" sldId="278"/>
            <ac:spMk id="257" creationId="{525CF94C-1EB6-4AC0-9991-DB3AB5D7B28C}"/>
          </ac:spMkLst>
        </pc:spChg>
        <pc:spChg chg="mod">
          <ac:chgData name="Tysland, Linn Alexandra" userId="9ff34668-37e5-40b3-ba32-9cf58cecaa20" providerId="ADAL" clId="{29487BF7-BBF4-4FD3-A9A7-6C9B1B38D3F0}" dt="2021-06-01T06:56:42.052" v="4055" actId="948"/>
          <ac:spMkLst>
            <pc:docMk/>
            <pc:sldMk cId="455755933" sldId="278"/>
            <ac:spMk id="284" creationId="{6CC34027-EDC8-4E89-8E80-2F3402CDF231}"/>
          </ac:spMkLst>
        </pc:spChg>
        <pc:spChg chg="mod">
          <ac:chgData name="Tysland, Linn Alexandra" userId="9ff34668-37e5-40b3-ba32-9cf58cecaa20" providerId="ADAL" clId="{29487BF7-BBF4-4FD3-A9A7-6C9B1B38D3F0}" dt="2021-06-01T06:56:42.071" v="4062" actId="948"/>
          <ac:spMkLst>
            <pc:docMk/>
            <pc:sldMk cId="455755933" sldId="278"/>
            <ac:spMk id="290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2.069" v="4061" actId="948"/>
          <ac:spMkLst>
            <pc:docMk/>
            <pc:sldMk cId="455755933" sldId="278"/>
            <ac:spMk id="291" creationId="{4BB99A11-FF42-4699-A4AA-AF09329A2E5C}"/>
          </ac:spMkLst>
        </pc:spChg>
        <pc:spChg chg="mod">
          <ac:chgData name="Tysland, Linn Alexandra" userId="9ff34668-37e5-40b3-ba32-9cf58cecaa20" providerId="ADAL" clId="{29487BF7-BBF4-4FD3-A9A7-6C9B1B38D3F0}" dt="2021-06-01T06:56:42.065" v="4059" actId="948"/>
          <ac:spMkLst>
            <pc:docMk/>
            <pc:sldMk cId="455755933" sldId="278"/>
            <ac:spMk id="292" creationId="{BB53152B-EB8F-45AA-94AD-8A6A2BB17010}"/>
          </ac:spMkLst>
        </pc:spChg>
        <pc:spChg chg="mod">
          <ac:chgData name="Tysland, Linn Alexandra" userId="9ff34668-37e5-40b3-ba32-9cf58cecaa20" providerId="ADAL" clId="{29487BF7-BBF4-4FD3-A9A7-6C9B1B38D3F0}" dt="2021-06-01T06:56:42.067" v="4060" actId="948"/>
          <ac:spMkLst>
            <pc:docMk/>
            <pc:sldMk cId="455755933" sldId="278"/>
            <ac:spMk id="299" creationId="{7FDA34D1-B467-4210-8789-2727BA87F2C8}"/>
          </ac:spMkLst>
        </pc:spChg>
        <pc:spChg chg="mod">
          <ac:chgData name="Tysland, Linn Alexandra" userId="9ff34668-37e5-40b3-ba32-9cf58cecaa20" providerId="ADAL" clId="{29487BF7-BBF4-4FD3-A9A7-6C9B1B38D3F0}" dt="2021-06-01T06:56:42.061" v="4058" actId="948"/>
          <ac:spMkLst>
            <pc:docMk/>
            <pc:sldMk cId="455755933" sldId="278"/>
            <ac:spMk id="309" creationId="{147CF8BC-20B1-41DC-A947-D01D2D23E53A}"/>
          </ac:spMkLst>
        </pc:spChg>
        <pc:spChg chg="mod">
          <ac:chgData name="Tysland, Linn Alexandra" userId="9ff34668-37e5-40b3-ba32-9cf58cecaa20" providerId="ADAL" clId="{29487BF7-BBF4-4FD3-A9A7-6C9B1B38D3F0}" dt="2021-05-28T11:21:24.720" v="3071"/>
          <ac:spMkLst>
            <pc:docMk/>
            <pc:sldMk cId="455755933" sldId="278"/>
            <ac:spMk id="311" creationId="{E9F34F78-A29A-4C34-AAA0-3CE850CC43A8}"/>
          </ac:spMkLst>
        </pc:spChg>
        <pc:spChg chg="mod">
          <ac:chgData name="Tysland, Linn Alexandra" userId="9ff34668-37e5-40b3-ba32-9cf58cecaa20" providerId="ADAL" clId="{29487BF7-BBF4-4FD3-A9A7-6C9B1B38D3F0}" dt="2021-05-28T11:21:24.722" v="3075"/>
          <ac:spMkLst>
            <pc:docMk/>
            <pc:sldMk cId="455755933" sldId="278"/>
            <ac:spMk id="312" creationId="{EAC27AB2-95B5-4DF2-8844-BE29A787F3F1}"/>
          </ac:spMkLst>
        </pc:spChg>
        <pc:spChg chg="mod">
          <ac:chgData name="Tysland, Linn Alexandra" userId="9ff34668-37e5-40b3-ba32-9cf58cecaa20" providerId="ADAL" clId="{29487BF7-BBF4-4FD3-A9A7-6C9B1B38D3F0}" dt="2021-05-28T11:21:24.749" v="3113"/>
          <ac:spMkLst>
            <pc:docMk/>
            <pc:sldMk cId="455755933" sldId="278"/>
            <ac:spMk id="313" creationId="{6A0755D9-3238-455A-9B18-EFF4EC01C6F7}"/>
          </ac:spMkLst>
        </pc:spChg>
        <pc:spChg chg="mod">
          <ac:chgData name="Tysland, Linn Alexandra" userId="9ff34668-37e5-40b3-ba32-9cf58cecaa20" providerId="ADAL" clId="{29487BF7-BBF4-4FD3-A9A7-6C9B1B38D3F0}" dt="2021-06-01T06:56:42.073" v="4063" actId="948"/>
          <ac:spMkLst>
            <pc:docMk/>
            <pc:sldMk cId="455755933" sldId="278"/>
            <ac:spMk id="316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0.432" v="3419" actId="20577"/>
          <ac:spMkLst>
            <pc:docMk/>
            <pc:sldMk cId="455755933" sldId="278"/>
            <ac:spMk id="318" creationId="{08EB648A-DE25-492D-931A-87B9AF54697C}"/>
          </ac:spMkLst>
        </pc:spChg>
        <pc:graphicFrameChg chg="mod">
          <ac:chgData name="Tysland, Linn Alexandra" userId="9ff34668-37e5-40b3-ba32-9cf58cecaa20" providerId="ADAL" clId="{29487BF7-BBF4-4FD3-A9A7-6C9B1B38D3F0}" dt="2021-06-01T06:56:42.106" v="4069"/>
          <ac:graphicFrameMkLst>
            <pc:docMk/>
            <pc:sldMk cId="455755933" sldId="278"/>
            <ac:graphicFrameMk id="66" creationId="{0C7FCCC1-B9F7-4F18-948A-F393939125B5}"/>
          </ac:graphicFrameMkLst>
        </pc:graphicFrameChg>
        <pc:cxnChg chg="mod">
          <ac:chgData name="Tysland, Linn Alexandra" userId="9ff34668-37e5-40b3-ba32-9cf58cecaa20" providerId="ADAL" clId="{29487BF7-BBF4-4FD3-A9A7-6C9B1B38D3F0}" dt="2021-05-28T11:21:24.805" v="3176"/>
          <ac:cxnSpMkLst>
            <pc:docMk/>
            <pc:sldMk cId="455755933" sldId="278"/>
            <ac:cxnSpMk id="61" creationId="{6340E8C5-649C-4BD5-B8AF-3BDA24718AE5}"/>
          </ac:cxnSpMkLst>
        </pc:cxnChg>
        <pc:cxnChg chg="mod">
          <ac:chgData name="Tysland, Linn Alexandra" userId="9ff34668-37e5-40b3-ba32-9cf58cecaa20" providerId="ADAL" clId="{29487BF7-BBF4-4FD3-A9A7-6C9B1B38D3F0}" dt="2021-05-28T11:21:24.808" v="3180"/>
          <ac:cxnSpMkLst>
            <pc:docMk/>
            <pc:sldMk cId="455755933" sldId="278"/>
            <ac:cxnSpMk id="62" creationId="{A816D935-EF65-4597-A68C-250CF56B07E5}"/>
          </ac:cxnSpMkLst>
        </pc:cxnChg>
        <pc:cxnChg chg="mod">
          <ac:chgData name="Tysland, Linn Alexandra" userId="9ff34668-37e5-40b3-ba32-9cf58cecaa20" providerId="ADAL" clId="{29487BF7-BBF4-4FD3-A9A7-6C9B1B38D3F0}" dt="2021-05-28T11:21:24.811" v="3184"/>
          <ac:cxnSpMkLst>
            <pc:docMk/>
            <pc:sldMk cId="455755933" sldId="278"/>
            <ac:cxnSpMk id="63" creationId="{B07A9071-FE86-454E-979A-BC74D0C21823}"/>
          </ac:cxnSpMkLst>
        </pc:cxnChg>
        <pc:cxnChg chg="mod">
          <ac:chgData name="Tysland, Linn Alexandra" userId="9ff34668-37e5-40b3-ba32-9cf58cecaa20" providerId="ADAL" clId="{29487BF7-BBF4-4FD3-A9A7-6C9B1B38D3F0}" dt="2021-05-28T11:21:24.815" v="3188"/>
          <ac:cxnSpMkLst>
            <pc:docMk/>
            <pc:sldMk cId="455755933" sldId="278"/>
            <ac:cxnSpMk id="64" creationId="{2A485D0A-F857-4228-884F-16D633A4649F}"/>
          </ac:cxnSpMkLst>
        </pc:cxnChg>
        <pc:cxnChg chg="mod">
          <ac:chgData name="Tysland, Linn Alexandra" userId="9ff34668-37e5-40b3-ba32-9cf58cecaa20" providerId="ADAL" clId="{29487BF7-BBF4-4FD3-A9A7-6C9B1B38D3F0}" dt="2021-05-28T11:21:24.818" v="3192"/>
          <ac:cxnSpMkLst>
            <pc:docMk/>
            <pc:sldMk cId="455755933" sldId="278"/>
            <ac:cxnSpMk id="65" creationId="{FB51FAEF-4E65-4C42-9DC6-998F283C3F65}"/>
          </ac:cxnSpMkLst>
        </pc:cxnChg>
        <pc:cxnChg chg="mod">
          <ac:chgData name="Tysland, Linn Alexandra" userId="9ff34668-37e5-40b3-ba32-9cf58cecaa20" providerId="ADAL" clId="{29487BF7-BBF4-4FD3-A9A7-6C9B1B38D3F0}" dt="2021-05-28T11:21:24.782" v="3152"/>
          <ac:cxnSpMkLst>
            <pc:docMk/>
            <pc:sldMk cId="455755933" sldId="278"/>
            <ac:cxnSpMk id="226" creationId="{C072D316-FFF3-4E6C-90CD-2E575B3383E5}"/>
          </ac:cxnSpMkLst>
        </pc:cxnChg>
        <pc:cxnChg chg="mod">
          <ac:chgData name="Tysland, Linn Alexandra" userId="9ff34668-37e5-40b3-ba32-9cf58cecaa20" providerId="ADAL" clId="{29487BF7-BBF4-4FD3-A9A7-6C9B1B38D3F0}" dt="2021-05-28T11:21:24.786" v="3156"/>
          <ac:cxnSpMkLst>
            <pc:docMk/>
            <pc:sldMk cId="455755933" sldId="278"/>
            <ac:cxnSpMk id="258" creationId="{83EF2314-F568-47BD-9DA4-04253E39101D}"/>
          </ac:cxnSpMkLst>
        </pc:cxnChg>
        <pc:cxnChg chg="mod">
          <ac:chgData name="Tysland, Linn Alexandra" userId="9ff34668-37e5-40b3-ba32-9cf58cecaa20" providerId="ADAL" clId="{29487BF7-BBF4-4FD3-A9A7-6C9B1B38D3F0}" dt="2021-05-28T11:21:24.790" v="3160"/>
          <ac:cxnSpMkLst>
            <pc:docMk/>
            <pc:sldMk cId="455755933" sldId="278"/>
            <ac:cxnSpMk id="259" creationId="{8D9C6BB5-A1EC-49E7-8E15-3E12A9BA30C8}"/>
          </ac:cxnSpMkLst>
        </pc:cxnChg>
        <pc:cxnChg chg="mod">
          <ac:chgData name="Tysland, Linn Alexandra" userId="9ff34668-37e5-40b3-ba32-9cf58cecaa20" providerId="ADAL" clId="{29487BF7-BBF4-4FD3-A9A7-6C9B1B38D3F0}" dt="2021-05-28T11:21:24.794" v="3164"/>
          <ac:cxnSpMkLst>
            <pc:docMk/>
            <pc:sldMk cId="455755933" sldId="278"/>
            <ac:cxnSpMk id="260" creationId="{12C3D357-5074-4315-A71B-68FDF05246FD}"/>
          </ac:cxnSpMkLst>
        </pc:cxnChg>
        <pc:cxnChg chg="mod">
          <ac:chgData name="Tysland, Linn Alexandra" userId="9ff34668-37e5-40b3-ba32-9cf58cecaa20" providerId="ADAL" clId="{29487BF7-BBF4-4FD3-A9A7-6C9B1B38D3F0}" dt="2021-05-28T11:21:24.798" v="3168"/>
          <ac:cxnSpMkLst>
            <pc:docMk/>
            <pc:sldMk cId="455755933" sldId="278"/>
            <ac:cxnSpMk id="261" creationId="{EC389AEB-E9C0-4DF6-992A-94865661E3F0}"/>
          </ac:cxnSpMkLst>
        </pc:cxnChg>
        <pc:cxnChg chg="mod">
          <ac:chgData name="Tysland, Linn Alexandra" userId="9ff34668-37e5-40b3-ba32-9cf58cecaa20" providerId="ADAL" clId="{29487BF7-BBF4-4FD3-A9A7-6C9B1B38D3F0}" dt="2021-05-28T11:21:24.802" v="3172"/>
          <ac:cxnSpMkLst>
            <pc:docMk/>
            <pc:sldMk cId="455755933" sldId="278"/>
            <ac:cxnSpMk id="285" creationId="{CDAB264E-6319-4EB4-8B9F-4AB2EF3C8BF8}"/>
          </ac:cxnSpMkLst>
        </pc:cxnChg>
      </pc:sldChg>
      <pc:sldChg chg="addSp delSp modSp new add mod modNotes">
        <pc:chgData name="Tysland, Linn Alexandra" userId="9ff34668-37e5-40b3-ba32-9cf58cecaa20" providerId="ADAL" clId="{29487BF7-BBF4-4FD3-A9A7-6C9B1B38D3F0}" dt="2021-06-01T06:57:27.208" v="4104" actId="313"/>
        <pc:sldMkLst>
          <pc:docMk/>
          <pc:sldMk cId="4064044775" sldId="279"/>
        </pc:sldMkLst>
        <pc:spChg chg="mod">
          <ac:chgData name="Tysland, Linn Alexandra" userId="9ff34668-37e5-40b3-ba32-9cf58cecaa20" providerId="ADAL" clId="{29487BF7-BBF4-4FD3-A9A7-6C9B1B38D3F0}" dt="2021-06-01T06:56:41.814" v="3916" actId="948"/>
          <ac:spMkLst>
            <pc:docMk/>
            <pc:sldMk cId="4064044775" sldId="279"/>
            <ac:spMk id="2" creationId="{0FF49AC4-F463-4005-862A-D601152AF74D}"/>
          </ac:spMkLst>
        </pc:spChg>
        <pc:spChg chg="mod">
          <ac:chgData name="Tysland, Linn Alexandra" userId="9ff34668-37e5-40b3-ba32-9cf58cecaa20" providerId="ADAL" clId="{29487BF7-BBF4-4FD3-A9A7-6C9B1B38D3F0}" dt="2021-06-01T06:57:27.208" v="4104" actId="313"/>
          <ac:spMkLst>
            <pc:docMk/>
            <pc:sldMk cId="4064044775" sldId="279"/>
            <ac:spMk id="3" creationId="{16B2BD47-45BB-446D-8561-786E83F24B99}"/>
          </ac:spMkLst>
        </pc:spChg>
        <pc:spChg chg="add mod">
          <ac:chgData name="Tysland, Linn Alexandra" userId="9ff34668-37e5-40b3-ba32-9cf58cecaa20" providerId="ADAL" clId="{29487BF7-BBF4-4FD3-A9A7-6C9B1B38D3F0}" dt="2021-06-01T06:56:40.369" v="3379" actId="20577"/>
          <ac:spMkLst>
            <pc:docMk/>
            <pc:sldMk cId="4064044775" sldId="279"/>
            <ac:spMk id="5" creationId="{B7B530DF-82A1-4A4E-9038-66A58999B712}"/>
          </ac:spMkLst>
        </pc:spChg>
        <pc:spChg chg="add mod">
          <ac:chgData name="Tysland, Linn Alexandra" userId="9ff34668-37e5-40b3-ba32-9cf58cecaa20" providerId="ADAL" clId="{29487BF7-BBF4-4FD3-A9A7-6C9B1B38D3F0}" dt="2021-06-01T06:56:40.375" v="3383" actId="20577"/>
          <ac:spMkLst>
            <pc:docMk/>
            <pc:sldMk cId="4064044775" sldId="279"/>
            <ac:spMk id="6" creationId="{B4A92532-F3BB-4B02-8839-62358EE80FA3}"/>
          </ac:spMkLst>
        </pc:spChg>
        <pc:spChg chg="add mod">
          <ac:chgData name="Tysland, Linn Alexandra" userId="9ff34668-37e5-40b3-ba32-9cf58cecaa20" providerId="ADAL" clId="{29487BF7-BBF4-4FD3-A9A7-6C9B1B38D3F0}" dt="2021-06-01T06:56:40.381" v="3387" actId="20577"/>
          <ac:spMkLst>
            <pc:docMk/>
            <pc:sldMk cId="4064044775" sldId="279"/>
            <ac:spMk id="7" creationId="{875BCB9B-59D9-42D0-9943-FDFE126A321C}"/>
          </ac:spMkLst>
        </pc:spChg>
        <pc:spChg chg="add mod">
          <ac:chgData name="Tysland, Linn Alexandra" userId="9ff34668-37e5-40b3-ba32-9cf58cecaa20" providerId="ADAL" clId="{29487BF7-BBF4-4FD3-A9A7-6C9B1B38D3F0}" dt="2021-06-01T06:56:40.386" v="3391" actId="20577"/>
          <ac:spMkLst>
            <pc:docMk/>
            <pc:sldMk cId="4064044775" sldId="279"/>
            <ac:spMk id="8" creationId="{20FBAA5F-DD02-4DD6-8871-14D5A53B1522}"/>
          </ac:spMkLst>
        </pc:spChg>
        <pc:spChg chg="add mod">
          <ac:chgData name="Tysland, Linn Alexandra" userId="9ff34668-37e5-40b3-ba32-9cf58cecaa20" providerId="ADAL" clId="{29487BF7-BBF4-4FD3-A9A7-6C9B1B38D3F0}" dt="2021-06-01T06:56:40.392" v="3395" actId="20577"/>
          <ac:spMkLst>
            <pc:docMk/>
            <pc:sldMk cId="4064044775" sldId="279"/>
            <ac:spMk id="9" creationId="{86A874E6-7F66-4CDF-9F82-4CA58C9E3B53}"/>
          </ac:spMkLst>
        </pc:spChg>
        <pc:spChg chg="add del mod modVis">
          <ac:chgData name="Tysland, Linn Alexandra" userId="9ff34668-37e5-40b3-ba32-9cf58cecaa20" providerId="ADAL" clId="{29487BF7-BBF4-4FD3-A9A7-6C9B1B38D3F0}" dt="2021-05-28T08:58:01.310" v="1572"/>
          <ac:spMkLst>
            <pc:docMk/>
            <pc:sldMk cId="4064044775" sldId="279"/>
            <ac:spMk id="11" creationId="{43AAB62C-BE80-4C26-81D3-C439B6523203}"/>
          </ac:spMkLst>
        </pc:spChg>
        <pc:spChg chg="add del mod modVis">
          <ac:chgData name="Tysland, Linn Alexandra" userId="9ff34668-37e5-40b3-ba32-9cf58cecaa20" providerId="ADAL" clId="{29487BF7-BBF4-4FD3-A9A7-6C9B1B38D3F0}" dt="2021-06-01T06:56:42.149" v="4093"/>
          <ac:spMkLst>
            <pc:docMk/>
            <pc:sldMk cId="4064044775" sldId="279"/>
            <ac:spMk id="12" creationId="{8CF17E82-3C3C-452E-83A4-D79EF9BEC3B3}"/>
          </ac:spMkLst>
        </pc:spChg>
        <pc:graphicFrameChg chg="add mod modGraphic">
          <ac:chgData name="Tysland, Linn Alexandra" userId="9ff34668-37e5-40b3-ba32-9cf58cecaa20" providerId="ADAL" clId="{29487BF7-BBF4-4FD3-A9A7-6C9B1B38D3F0}" dt="2021-06-01T06:56:40.349" v="3375" actId="20577"/>
          <ac:graphicFrameMkLst>
            <pc:docMk/>
            <pc:sldMk cId="4064044775" sldId="279"/>
            <ac:graphicFrameMk id="4" creationId="{52A32AFB-71CA-4F81-99EA-03ABAC2BCBC2}"/>
          </ac:graphicFrameMkLst>
        </pc:graphicFrameChg>
        <pc:graphicFrameChg chg="add mod ord modVis">
          <ac:chgData name="Tysland, Linn Alexandra" userId="9ff34668-37e5-40b3-ba32-9cf58cecaa20" providerId="ADAL" clId="{29487BF7-BBF4-4FD3-A9A7-6C9B1B38D3F0}" dt="2021-06-01T06:56:42.154" v="4095"/>
          <ac:graphicFrameMkLst>
            <pc:docMk/>
            <pc:sldMk cId="4064044775" sldId="279"/>
            <ac:graphicFrameMk id="10" creationId="{9E0A4009-6A04-4744-B8AB-7D4D7B5D9E50}"/>
          </ac:graphicFrameMkLst>
        </pc:graphicFrameChg>
      </pc:sldChg>
      <pc:sldChg chg="addSp delSp modSp mod">
        <pc:chgData name="Tysland, Linn Alexandra" userId="9ff34668-37e5-40b3-ba32-9cf58cecaa20" providerId="ADAL" clId="{29487BF7-BBF4-4FD3-A9A7-6C9B1B38D3F0}" dt="2021-06-01T08:50:26.730" v="4725"/>
        <pc:sldMkLst>
          <pc:docMk/>
          <pc:sldMk cId="1548740855" sldId="280"/>
        </pc:sldMkLst>
        <pc:spChg chg="mod">
          <ac:chgData name="Tysland, Linn Alexandra" userId="9ff34668-37e5-40b3-ba32-9cf58cecaa20" providerId="ADAL" clId="{29487BF7-BBF4-4FD3-A9A7-6C9B1B38D3F0}" dt="2021-06-01T08:50:26.652" v="4676" actId="948"/>
          <ac:spMkLst>
            <pc:docMk/>
            <pc:sldMk cId="1548740855" sldId="280"/>
            <ac:spMk id="2" creationId="{F470383C-115B-474C-AEB6-F19C3CAA2317}"/>
          </ac:spMkLst>
        </pc:spChg>
        <pc:spChg chg="add del mod modVis">
          <ac:chgData name="Tysland, Linn Alexandra" userId="9ff34668-37e5-40b3-ba32-9cf58cecaa20" providerId="ADAL" clId="{29487BF7-BBF4-4FD3-A9A7-6C9B1B38D3F0}" dt="2021-06-01T08:48:48.553" v="4238"/>
          <ac:spMkLst>
            <pc:docMk/>
            <pc:sldMk cId="1548740855" sldId="280"/>
            <ac:spMk id="3" creationId="{022FC285-2076-4D39-8A4C-81752A8D5AC3}"/>
          </ac:spMkLst>
        </pc:spChg>
        <pc:spChg chg="add del mod modVis">
          <ac:chgData name="Tysland, Linn Alexandra" userId="9ff34668-37e5-40b3-ba32-9cf58cecaa20" providerId="ADAL" clId="{29487BF7-BBF4-4FD3-A9A7-6C9B1B38D3F0}" dt="2021-06-01T08:48:51.142" v="4280"/>
          <ac:spMkLst>
            <pc:docMk/>
            <pc:sldMk cId="1548740855" sldId="280"/>
            <ac:spMk id="5" creationId="{4A6B0BCC-CD5E-4F89-8B18-543EBEFB0A81}"/>
          </ac:spMkLst>
        </pc:spChg>
        <pc:spChg chg="add del mod modVis">
          <ac:chgData name="Tysland, Linn Alexandra" userId="9ff34668-37e5-40b3-ba32-9cf58cecaa20" providerId="ADAL" clId="{29487BF7-BBF4-4FD3-A9A7-6C9B1B38D3F0}" dt="2021-06-01T08:48:55.921" v="4331"/>
          <ac:spMkLst>
            <pc:docMk/>
            <pc:sldMk cId="1548740855" sldId="280"/>
            <ac:spMk id="6" creationId="{CA12EEFE-D55C-4F28-B597-4AC91D088B35}"/>
          </ac:spMkLst>
        </pc:spChg>
        <pc:spChg chg="add del mod modVis">
          <ac:chgData name="Tysland, Linn Alexandra" userId="9ff34668-37e5-40b3-ba32-9cf58cecaa20" providerId="ADAL" clId="{29487BF7-BBF4-4FD3-A9A7-6C9B1B38D3F0}" dt="2021-06-01T08:50:26.726" v="4723"/>
          <ac:spMkLst>
            <pc:docMk/>
            <pc:sldMk cId="1548740855" sldId="280"/>
            <ac:spMk id="7" creationId="{3ACBF1EF-B28A-42B6-80D7-EB54E86E965E}"/>
          </ac:spMkLst>
        </pc:spChg>
        <pc:graphicFrameChg chg="mod">
          <ac:chgData name="Tysland, Linn Alexandra" userId="9ff34668-37e5-40b3-ba32-9cf58cecaa20" providerId="ADAL" clId="{29487BF7-BBF4-4FD3-A9A7-6C9B1B38D3F0}" dt="2021-06-01T08:50:26.730" v="4725"/>
          <ac:graphicFrameMkLst>
            <pc:docMk/>
            <pc:sldMk cId="1548740855" sldId="280"/>
            <ac:graphicFrameMk id="4" creationId="{14A1A616-5D2B-4272-AE8C-25F48B9B5440}"/>
          </ac:graphicFrameMkLst>
        </pc:graphicFrameChg>
      </pc:sldChg>
      <pc:sldChg chg="addSp delSp modSp mod">
        <pc:chgData name="Tysland, Linn Alexandra" userId="9ff34668-37e5-40b3-ba32-9cf58cecaa20" providerId="ADAL" clId="{29487BF7-BBF4-4FD3-A9A7-6C9B1B38D3F0}" dt="2021-06-01T08:50:36.192" v="4782"/>
        <pc:sldMkLst>
          <pc:docMk/>
          <pc:sldMk cId="3993342799" sldId="281"/>
        </pc:sldMkLst>
        <pc:spChg chg="mod">
          <ac:chgData name="Tysland, Linn Alexandra" userId="9ff34668-37e5-40b3-ba32-9cf58cecaa20" providerId="ADAL" clId="{29487BF7-BBF4-4FD3-A9A7-6C9B1B38D3F0}" dt="2021-06-01T08:50:36.105" v="4727" actId="948"/>
          <ac:spMkLst>
            <pc:docMk/>
            <pc:sldMk cId="3993342799" sldId="281"/>
            <ac:spMk id="2" creationId="{F470383C-115B-474C-AEB6-F19C3CAA2317}"/>
          </ac:spMkLst>
        </pc:spChg>
        <pc:spChg chg="add del mod modVis">
          <ac:chgData name="Tysland, Linn Alexandra" userId="9ff34668-37e5-40b3-ba32-9cf58cecaa20" providerId="ADAL" clId="{29487BF7-BBF4-4FD3-A9A7-6C9B1B38D3F0}" dt="2021-06-01T08:49:30.206" v="4378"/>
          <ac:spMkLst>
            <pc:docMk/>
            <pc:sldMk cId="3993342799" sldId="281"/>
            <ac:spMk id="3" creationId="{877721F1-5AC8-4C15-95CA-09E99A093F7E}"/>
          </ac:spMkLst>
        </pc:spChg>
        <pc:spChg chg="add del mod modVis">
          <ac:chgData name="Tysland, Linn Alexandra" userId="9ff34668-37e5-40b3-ba32-9cf58cecaa20" providerId="ADAL" clId="{29487BF7-BBF4-4FD3-A9A7-6C9B1B38D3F0}" dt="2021-06-01T08:49:32.795" v="4426"/>
          <ac:spMkLst>
            <pc:docMk/>
            <pc:sldMk cId="3993342799" sldId="281"/>
            <ac:spMk id="5" creationId="{19C3CDF5-EF7B-4C15-A4C9-4CFB14D46B7C}"/>
          </ac:spMkLst>
        </pc:spChg>
        <pc:spChg chg="add del mod modVis">
          <ac:chgData name="Tysland, Linn Alexandra" userId="9ff34668-37e5-40b3-ba32-9cf58cecaa20" providerId="ADAL" clId="{29487BF7-BBF4-4FD3-A9A7-6C9B1B38D3F0}" dt="2021-06-01T08:49:36.230" v="4483"/>
          <ac:spMkLst>
            <pc:docMk/>
            <pc:sldMk cId="3993342799" sldId="281"/>
            <ac:spMk id="6" creationId="{1C1C811B-E4B8-449E-9A3B-41CA72035DA7}"/>
          </ac:spMkLst>
        </pc:spChg>
        <pc:spChg chg="add del mod modVis">
          <ac:chgData name="Tysland, Linn Alexandra" userId="9ff34668-37e5-40b3-ba32-9cf58cecaa20" providerId="ADAL" clId="{29487BF7-BBF4-4FD3-A9A7-6C9B1B38D3F0}" dt="2021-06-01T08:50:36.187" v="4780"/>
          <ac:spMkLst>
            <pc:docMk/>
            <pc:sldMk cId="3993342799" sldId="281"/>
            <ac:spMk id="7" creationId="{A8E9B16A-CDFB-4AB0-BAF5-F9ADE9FAF258}"/>
          </ac:spMkLst>
        </pc:spChg>
        <pc:graphicFrameChg chg="mod">
          <ac:chgData name="Tysland, Linn Alexandra" userId="9ff34668-37e5-40b3-ba32-9cf58cecaa20" providerId="ADAL" clId="{29487BF7-BBF4-4FD3-A9A7-6C9B1B38D3F0}" dt="2021-06-01T08:50:36.192" v="4782"/>
          <ac:graphicFrameMkLst>
            <pc:docMk/>
            <pc:sldMk cId="3993342799" sldId="281"/>
            <ac:graphicFrameMk id="4" creationId="{14A1A616-5D2B-4272-AE8C-25F48B9B5440}"/>
          </ac:graphicFrameMkLst>
        </pc:graphicFrameChg>
      </pc:sldChg>
      <pc:sldChg chg="addSp delSp modSp mod">
        <pc:chgData name="Tysland, Linn Alexandra" userId="9ff34668-37e5-40b3-ba32-9cf58cecaa20" providerId="ADAL" clId="{29487BF7-BBF4-4FD3-A9A7-6C9B1B38D3F0}" dt="2021-06-01T08:50:48.249" v="4896"/>
        <pc:sldMkLst>
          <pc:docMk/>
          <pc:sldMk cId="2668418554" sldId="282"/>
        </pc:sldMkLst>
        <pc:spChg chg="mod">
          <ac:chgData name="Tysland, Linn Alexandra" userId="9ff34668-37e5-40b3-ba32-9cf58cecaa20" providerId="ADAL" clId="{29487BF7-BBF4-4FD3-A9A7-6C9B1B38D3F0}" dt="2021-06-01T08:50:48.165" v="4841" actId="948"/>
          <ac:spMkLst>
            <pc:docMk/>
            <pc:sldMk cId="2668418554" sldId="282"/>
            <ac:spMk id="2" creationId="{F470383C-115B-474C-AEB6-F19C3CAA2317}"/>
          </ac:spMkLst>
        </pc:spChg>
        <pc:spChg chg="add del mod modVis">
          <ac:chgData name="Tysland, Linn Alexandra" userId="9ff34668-37e5-40b3-ba32-9cf58cecaa20" providerId="ADAL" clId="{29487BF7-BBF4-4FD3-A9A7-6C9B1B38D3F0}" dt="2021-06-01T08:49:57.932" v="4530"/>
          <ac:spMkLst>
            <pc:docMk/>
            <pc:sldMk cId="2668418554" sldId="282"/>
            <ac:spMk id="3" creationId="{ABF94A41-56E1-4096-8983-E882321B5617}"/>
          </ac:spMkLst>
        </pc:spChg>
        <pc:spChg chg="add del mod modVis">
          <ac:chgData name="Tysland, Linn Alexandra" userId="9ff34668-37e5-40b3-ba32-9cf58cecaa20" providerId="ADAL" clId="{29487BF7-BBF4-4FD3-A9A7-6C9B1B38D3F0}" dt="2021-06-01T08:50:01.122" v="4578"/>
          <ac:spMkLst>
            <pc:docMk/>
            <pc:sldMk cId="2668418554" sldId="282"/>
            <ac:spMk id="5" creationId="{6D3EC1FC-7928-4DB2-A5CC-0511BC273574}"/>
          </ac:spMkLst>
        </pc:spChg>
        <pc:spChg chg="add del mod modVis">
          <ac:chgData name="Tysland, Linn Alexandra" userId="9ff34668-37e5-40b3-ba32-9cf58cecaa20" providerId="ADAL" clId="{29487BF7-BBF4-4FD3-A9A7-6C9B1B38D3F0}" dt="2021-06-01T08:50:07.586" v="4625"/>
          <ac:spMkLst>
            <pc:docMk/>
            <pc:sldMk cId="2668418554" sldId="282"/>
            <ac:spMk id="6" creationId="{39D3364F-8529-4669-9C54-934C99283530}"/>
          </ac:spMkLst>
        </pc:spChg>
        <pc:spChg chg="add del mod modVis">
          <ac:chgData name="Tysland, Linn Alexandra" userId="9ff34668-37e5-40b3-ba32-9cf58cecaa20" providerId="ADAL" clId="{29487BF7-BBF4-4FD3-A9A7-6C9B1B38D3F0}" dt="2021-06-01T08:50:08.697" v="4672"/>
          <ac:spMkLst>
            <pc:docMk/>
            <pc:sldMk cId="2668418554" sldId="282"/>
            <ac:spMk id="7" creationId="{BCA10C01-05CD-4636-B5CD-A8ECF2966ADA}"/>
          </ac:spMkLst>
        </pc:spChg>
        <pc:spChg chg="add del mod modVis">
          <ac:chgData name="Tysland, Linn Alexandra" userId="9ff34668-37e5-40b3-ba32-9cf58cecaa20" providerId="ADAL" clId="{29487BF7-BBF4-4FD3-A9A7-6C9B1B38D3F0}" dt="2021-06-01T08:50:43.057" v="4837"/>
          <ac:spMkLst>
            <pc:docMk/>
            <pc:sldMk cId="2668418554" sldId="282"/>
            <ac:spMk id="8" creationId="{B5A28184-06AA-4980-99DF-DC6C2FDE241C}"/>
          </ac:spMkLst>
        </pc:spChg>
        <pc:spChg chg="add del mod modVis">
          <ac:chgData name="Tysland, Linn Alexandra" userId="9ff34668-37e5-40b3-ba32-9cf58cecaa20" providerId="ADAL" clId="{29487BF7-BBF4-4FD3-A9A7-6C9B1B38D3F0}" dt="2021-06-01T08:50:48.244" v="4894"/>
          <ac:spMkLst>
            <pc:docMk/>
            <pc:sldMk cId="2668418554" sldId="282"/>
            <ac:spMk id="9" creationId="{D600E04B-00F7-4B88-96B6-9B68A31FEA8D}"/>
          </ac:spMkLst>
        </pc:spChg>
        <pc:graphicFrameChg chg="mod">
          <ac:chgData name="Tysland, Linn Alexandra" userId="9ff34668-37e5-40b3-ba32-9cf58cecaa20" providerId="ADAL" clId="{29487BF7-BBF4-4FD3-A9A7-6C9B1B38D3F0}" dt="2021-06-01T08:50:48.249" v="4896"/>
          <ac:graphicFrameMkLst>
            <pc:docMk/>
            <pc:sldMk cId="2668418554" sldId="282"/>
            <ac:graphicFrameMk id="4" creationId="{14A1A616-5D2B-4272-AE8C-25F48B9B5440}"/>
          </ac:graphicFrameMkLst>
        </pc:graphicFrameChg>
      </pc:sldChg>
      <pc:sldMasterChg chg="addSp delSp modSp mod modSldLayout">
        <pc:chgData name="Tysland, Linn Alexandra" userId="9ff34668-37e5-40b3-ba32-9cf58cecaa20" providerId="ADAL" clId="{29487BF7-BBF4-4FD3-A9A7-6C9B1B38D3F0}" dt="2021-06-01T06:56:42.170" v="4103"/>
        <pc:sldMasterMkLst>
          <pc:docMk/>
          <pc:sldMasterMk cId="4013297763" sldId="2147483648"/>
        </pc:sldMasterMkLst>
        <pc:spChg chg="mod">
          <ac:chgData name="Tysland, Linn Alexandra" userId="9ff34668-37e5-40b3-ba32-9cf58cecaa20" providerId="ADAL" clId="{29487BF7-BBF4-4FD3-A9A7-6C9B1B38D3F0}" dt="2021-06-01T06:56:41.696" v="3843" actId="948"/>
          <ac:spMkLst>
            <pc:docMk/>
            <pc:sldMasterMk cId="4013297763" sldId="2147483648"/>
            <ac:spMk id="2" creationId="{7DD6C931-8CBD-4AA1-9446-8C015E642754}"/>
          </ac:spMkLst>
        </pc:spChg>
        <pc:spChg chg="mod">
          <ac:chgData name="Tysland, Linn Alexandra" userId="9ff34668-37e5-40b3-ba32-9cf58cecaa20" providerId="ADAL" clId="{29487BF7-BBF4-4FD3-A9A7-6C9B1B38D3F0}" dt="2021-06-01T06:56:40.796" v="3657" actId="790"/>
          <ac:spMkLst>
            <pc:docMk/>
            <pc:sldMasterMk cId="4013297763" sldId="2147483648"/>
            <ac:spMk id="3" creationId="{2A65B8C4-6750-4926-826C-65B97A5E7CF5}"/>
          </ac:spMkLst>
        </pc:spChg>
        <pc:spChg chg="mod">
          <ac:chgData name="Tysland, Linn Alexandra" userId="9ff34668-37e5-40b3-ba32-9cf58cecaa20" providerId="ADAL" clId="{29487BF7-BBF4-4FD3-A9A7-6C9B1B38D3F0}" dt="2021-06-01T06:56:40.778" v="3655" actId="20577"/>
          <ac:spMkLst>
            <pc:docMk/>
            <pc:sldMasterMk cId="4013297763" sldId="2147483648"/>
            <ac:spMk id="4" creationId="{A208650F-D91C-445D-A475-106208C96AB4}"/>
          </ac:spMkLst>
        </pc:spChg>
        <pc:spChg chg="mod">
          <ac:chgData name="Tysland, Linn Alexandra" userId="9ff34668-37e5-40b3-ba32-9cf58cecaa20" providerId="ADAL" clId="{29487BF7-BBF4-4FD3-A9A7-6C9B1B38D3F0}" dt="2021-06-01T06:56:40.800" v="3658" actId="790"/>
          <ac:spMkLst>
            <pc:docMk/>
            <pc:sldMasterMk cId="4013297763" sldId="2147483648"/>
            <ac:spMk id="6" creationId="{FF11C175-0C31-4487-B668-E72CFDB56D77}"/>
          </ac:spMkLst>
        </pc:spChg>
        <pc:spChg chg="add del mod modVis">
          <ac:chgData name="Tysland, Linn Alexandra" userId="9ff34668-37e5-40b3-ba32-9cf58cecaa20" providerId="ADAL" clId="{29487BF7-BBF4-4FD3-A9A7-6C9B1B38D3F0}" dt="2021-05-28T08:37:02.300" v="697"/>
          <ac:spMkLst>
            <pc:docMk/>
            <pc:sldMasterMk cId="4013297763" sldId="2147483648"/>
            <ac:spMk id="7" creationId="{3E774902-CD74-4660-8CA6-2DF6E7CB2341}"/>
          </ac:spMkLst>
        </pc:spChg>
        <pc:spChg chg="add del mod modVis">
          <ac:chgData name="Tysland, Linn Alexandra" userId="9ff34668-37e5-40b3-ba32-9cf58cecaa20" providerId="ADAL" clId="{29487BF7-BBF4-4FD3-A9A7-6C9B1B38D3F0}" dt="2021-06-01T06:56:42.125" v="4081"/>
          <ac:spMkLst>
            <pc:docMk/>
            <pc:sldMasterMk cId="4013297763" sldId="2147483648"/>
            <ac:spMk id="8" creationId="{A4575A7A-3A0B-4933-B57C-7855C5E22DF1}"/>
          </ac:spMkLst>
        </pc:spChg>
        <pc:graphicFrameChg chg="mod">
          <ac:chgData name="Tysland, Linn Alexandra" userId="9ff34668-37e5-40b3-ba32-9cf58cecaa20" providerId="ADAL" clId="{29487BF7-BBF4-4FD3-A9A7-6C9B1B38D3F0}" dt="2021-06-01T06:56:42.130" v="4083"/>
          <ac:graphicFrameMkLst>
            <pc:docMk/>
            <pc:sldMasterMk cId="4013297763" sldId="2147483648"/>
            <ac:graphicFrameMk id="5" creationId="{AAD8AD6E-E2C3-43A4-B76F-082A4603055C}"/>
          </ac:graphicFrameMkLst>
        </pc:graphicFrameChg>
        <pc:sldLayoutChg chg="addSp delSp modSp mod">
          <pc:chgData name="Tysland, Linn Alexandra" userId="9ff34668-37e5-40b3-ba32-9cf58cecaa20" providerId="ADAL" clId="{29487BF7-BBF4-4FD3-A9A7-6C9B1B38D3F0}" dt="2021-06-01T06:56:42.137" v="4087"/>
          <pc:sldLayoutMkLst>
            <pc:docMk/>
            <pc:sldMasterMk cId="4013297763" sldId="2147483648"/>
            <pc:sldLayoutMk cId="1701950048" sldId="2147483649"/>
          </pc:sldLayoutMkLst>
          <pc:spChg chg="mod">
            <ac:chgData name="Tysland, Linn Alexandra" userId="9ff34668-37e5-40b3-ba32-9cf58cecaa20" providerId="ADAL" clId="{29487BF7-BBF4-4FD3-A9A7-6C9B1B38D3F0}" dt="2021-06-01T06:56:41.759" v="3879" actId="948"/>
            <ac:spMkLst>
              <pc:docMk/>
              <pc:sldMasterMk cId="4013297763" sldId="2147483648"/>
              <pc:sldLayoutMk cId="1701950048" sldId="2147483649"/>
              <ac:spMk id="2" creationId="{3E60B18C-41EC-487B-B6CE-B9870E3B53D2}"/>
            </ac:spMkLst>
          </pc:spChg>
          <pc:spChg chg="mod">
            <ac:chgData name="Tysland, Linn Alexandra" userId="9ff34668-37e5-40b3-ba32-9cf58cecaa20" providerId="ADAL" clId="{29487BF7-BBF4-4FD3-A9A7-6C9B1B38D3F0}" dt="2021-06-01T06:56:40.808" v="3660" actId="790"/>
            <ac:spMkLst>
              <pc:docMk/>
              <pc:sldMasterMk cId="4013297763" sldId="2147483648"/>
              <pc:sldLayoutMk cId="1701950048" sldId="2147483649"/>
              <ac:spMk id="3" creationId="{58474B5E-59D5-4F09-91FF-3590EFDC82A8}"/>
            </ac:spMkLst>
          </pc:spChg>
          <pc:spChg chg="add del mod modVis">
            <ac:chgData name="Tysland, Linn Alexandra" userId="9ff34668-37e5-40b3-ba32-9cf58cecaa20" providerId="ADAL" clId="{29487BF7-BBF4-4FD3-A9A7-6C9B1B38D3F0}" dt="2021-05-28T08:37:02.307" v="701"/>
            <ac:spMkLst>
              <pc:docMk/>
              <pc:sldMasterMk cId="4013297763" sldId="2147483648"/>
              <pc:sldLayoutMk cId="1701950048" sldId="2147483649"/>
              <ac:spMk id="4" creationId="{1D45CA4E-36E0-4D08-8101-747D3C9759A0}"/>
            </ac:spMkLst>
          </pc:spChg>
          <pc:spChg chg="add del mod modVis">
            <ac:chgData name="Tysland, Linn Alexandra" userId="9ff34668-37e5-40b3-ba32-9cf58cecaa20" providerId="ADAL" clId="{29487BF7-BBF4-4FD3-A9A7-6C9B1B38D3F0}" dt="2021-06-01T06:56:42.132" v="4085"/>
            <ac:spMkLst>
              <pc:docMk/>
              <pc:sldMasterMk cId="4013297763" sldId="2147483648"/>
              <pc:sldLayoutMk cId="1701950048" sldId="2147483649"/>
              <ac:spMk id="7" creationId="{6FB7EAF3-5FAF-4833-9E23-83A53BF2B6FE}"/>
            </ac:spMkLst>
          </pc:spChg>
          <pc:graphicFrameChg chg="mod">
            <ac:chgData name="Tysland, Linn Alexandra" userId="9ff34668-37e5-40b3-ba32-9cf58cecaa20" providerId="ADAL" clId="{29487BF7-BBF4-4FD3-A9A7-6C9B1B38D3F0}" dt="2021-06-01T06:56:42.137" v="4087"/>
            <ac:graphicFrameMkLst>
              <pc:docMk/>
              <pc:sldMasterMk cId="4013297763" sldId="2147483648"/>
              <pc:sldLayoutMk cId="1701950048" sldId="2147483649"/>
              <ac:graphicFrameMk id="5" creationId="{9AEC81DE-7596-4EF0-9B11-D22335BEBF37}"/>
            </ac:graphicFrameMkLst>
          </pc:graphicFrameChg>
        </pc:sldLayoutChg>
        <pc:sldLayoutChg chg="modSp mod">
          <pc:chgData name="Tysland, Linn Alexandra" userId="9ff34668-37e5-40b3-ba32-9cf58cecaa20" providerId="ADAL" clId="{29487BF7-BBF4-4FD3-A9A7-6C9B1B38D3F0}" dt="2021-06-01T06:56:42.141" v="4089"/>
          <pc:sldLayoutMkLst>
            <pc:docMk/>
            <pc:sldMasterMk cId="4013297763" sldId="2147483648"/>
            <pc:sldLayoutMk cId="1971966660" sldId="2147483650"/>
          </pc:sldLayoutMkLst>
          <pc:spChg chg="mod">
            <ac:chgData name="Tysland, Linn Alexandra" userId="9ff34668-37e5-40b3-ba32-9cf58cecaa20" providerId="ADAL" clId="{29487BF7-BBF4-4FD3-A9A7-6C9B1B38D3F0}" dt="2021-06-01T06:56:41.809" v="3915" actId="948"/>
            <ac:spMkLst>
              <pc:docMk/>
              <pc:sldMasterMk cId="4013297763" sldId="2147483648"/>
              <pc:sldLayoutMk cId="1971966660" sldId="2147483650"/>
              <ac:spMk id="2" creationId="{B34942CF-C2FE-4549-959D-87B3375FD136}"/>
            </ac:spMkLst>
          </pc:spChg>
          <pc:spChg chg="mod">
            <ac:chgData name="Tysland, Linn Alexandra" userId="9ff34668-37e5-40b3-ba32-9cf58cecaa20" providerId="ADAL" clId="{29487BF7-BBF4-4FD3-A9A7-6C9B1B38D3F0}" dt="2021-06-01T06:56:40.815" v="3662" actId="790"/>
            <ac:spMkLst>
              <pc:docMk/>
              <pc:sldMasterMk cId="4013297763" sldId="2147483648"/>
              <pc:sldLayoutMk cId="1971966660" sldId="2147483650"/>
              <ac:spMk id="3" creationId="{5AAEB436-9D23-4505-9B44-AD95411B70F4}"/>
            </ac:spMkLst>
          </pc:spChg>
          <pc:spChg chg="mod">
            <ac:chgData name="Tysland, Linn Alexandra" userId="9ff34668-37e5-40b3-ba32-9cf58cecaa20" providerId="ADAL" clId="{29487BF7-BBF4-4FD3-A9A7-6C9B1B38D3F0}" dt="2021-06-01T06:56:40.818" v="3663" actId="790"/>
            <ac:spMkLst>
              <pc:docMk/>
              <pc:sldMasterMk cId="4013297763" sldId="2147483648"/>
              <pc:sldLayoutMk cId="1971966660" sldId="2147483650"/>
              <ac:spMk id="6" creationId="{3C75EE42-E8F8-4F45-A3D5-4DE234ECCB6C}"/>
            </ac:spMkLst>
          </pc:spChg>
          <pc:graphicFrameChg chg="mod">
            <ac:chgData name="Tysland, Linn Alexandra" userId="9ff34668-37e5-40b3-ba32-9cf58cecaa20" providerId="ADAL" clId="{29487BF7-BBF4-4FD3-A9A7-6C9B1B38D3F0}" dt="2021-06-01T06:56:42.141" v="4089"/>
            <ac:graphicFrameMkLst>
              <pc:docMk/>
              <pc:sldMasterMk cId="4013297763" sldId="2147483648"/>
              <pc:sldLayoutMk cId="1971966660" sldId="2147483650"/>
              <ac:graphicFrameMk id="4" creationId="{923B6FC5-F718-4116-B978-30A273414474}"/>
            </ac:graphicFrameMkLst>
          </pc:graphicFrameChg>
        </pc:sldLayoutChg>
        <pc:sldLayoutChg chg="addSp delSp modSp mod">
          <pc:chgData name="Tysland, Linn Alexandra" userId="9ff34668-37e5-40b3-ba32-9cf58cecaa20" providerId="ADAL" clId="{29487BF7-BBF4-4FD3-A9A7-6C9B1B38D3F0}" dt="2021-06-01T06:56:42.123" v="4079"/>
          <pc:sldLayoutMkLst>
            <pc:docMk/>
            <pc:sldMasterMk cId="4013297763" sldId="2147483648"/>
            <pc:sldLayoutMk cId="457901238" sldId="2147483651"/>
          </pc:sldLayoutMkLst>
          <pc:spChg chg="mod">
            <ac:chgData name="Tysland, Linn Alexandra" userId="9ff34668-37e5-40b3-ba32-9cf58cecaa20" providerId="ADAL" clId="{29487BF7-BBF4-4FD3-A9A7-6C9B1B38D3F0}" dt="2021-06-01T06:56:41.643" v="3807" actId="948"/>
            <ac:spMkLst>
              <pc:docMk/>
              <pc:sldMasterMk cId="4013297763" sldId="2147483648"/>
              <pc:sldLayoutMk cId="457901238" sldId="2147483651"/>
              <ac:spMk id="2" creationId="{B34942CF-C2FE-4549-959D-87B3375FD136}"/>
            </ac:spMkLst>
          </pc:spChg>
          <pc:spChg chg="mod">
            <ac:chgData name="Tysland, Linn Alexandra" userId="9ff34668-37e5-40b3-ba32-9cf58cecaa20" providerId="ADAL" clId="{29487BF7-BBF4-4FD3-A9A7-6C9B1B38D3F0}" dt="2021-06-01T06:56:40.825" v="3665" actId="790"/>
            <ac:spMkLst>
              <pc:docMk/>
              <pc:sldMasterMk cId="4013297763" sldId="2147483648"/>
              <pc:sldLayoutMk cId="457901238" sldId="2147483651"/>
              <ac:spMk id="3" creationId="{5AAEB436-9D23-4505-9B44-AD95411B70F4}"/>
            </ac:spMkLst>
          </pc:spChg>
          <pc:spChg chg="add del mod modVis">
            <ac:chgData name="Tysland, Linn Alexandra" userId="9ff34668-37e5-40b3-ba32-9cf58cecaa20" providerId="ADAL" clId="{29487BF7-BBF4-4FD3-A9A7-6C9B1B38D3F0}" dt="2021-05-28T08:37:02.294" v="693"/>
            <ac:spMkLst>
              <pc:docMk/>
              <pc:sldMasterMk cId="4013297763" sldId="2147483648"/>
              <pc:sldLayoutMk cId="457901238" sldId="2147483651"/>
              <ac:spMk id="4" creationId="{743BC9A7-E1FB-4455-B68D-EE20E32F2276}"/>
            </ac:spMkLst>
          </pc:spChg>
          <pc:spChg chg="mod">
            <ac:chgData name="Tysland, Linn Alexandra" userId="9ff34668-37e5-40b3-ba32-9cf58cecaa20" providerId="ADAL" clId="{29487BF7-BBF4-4FD3-A9A7-6C9B1B38D3F0}" dt="2021-06-01T06:56:40.828" v="3666" actId="790"/>
            <ac:spMkLst>
              <pc:docMk/>
              <pc:sldMasterMk cId="4013297763" sldId="2147483648"/>
              <pc:sldLayoutMk cId="457901238" sldId="2147483651"/>
              <ac:spMk id="6" creationId="{3C75EE42-E8F8-4F45-A3D5-4DE234ECCB6C}"/>
            </ac:spMkLst>
          </pc:spChg>
          <pc:spChg chg="add del mod modVis">
            <ac:chgData name="Tysland, Linn Alexandra" userId="9ff34668-37e5-40b3-ba32-9cf58cecaa20" providerId="ADAL" clId="{29487BF7-BBF4-4FD3-A9A7-6C9B1B38D3F0}" dt="2021-06-01T06:56:42.118" v="4077"/>
            <ac:spMkLst>
              <pc:docMk/>
              <pc:sldMasterMk cId="4013297763" sldId="2147483648"/>
              <pc:sldLayoutMk cId="457901238" sldId="2147483651"/>
              <ac:spMk id="8" creationId="{D1574CC4-D8E8-4638-A23C-FB53490C48DC}"/>
            </ac:spMkLst>
          </pc:spChg>
          <pc:graphicFrameChg chg="mod">
            <ac:chgData name="Tysland, Linn Alexandra" userId="9ff34668-37e5-40b3-ba32-9cf58cecaa20" providerId="ADAL" clId="{29487BF7-BBF4-4FD3-A9A7-6C9B1B38D3F0}" dt="2021-06-01T06:56:42.123" v="4079"/>
            <ac:graphicFrameMkLst>
              <pc:docMk/>
              <pc:sldMasterMk cId="4013297763" sldId="2147483648"/>
              <pc:sldLayoutMk cId="457901238" sldId="2147483651"/>
              <ac:graphicFrameMk id="5" creationId="{84A39A70-5DD1-42DD-8836-37BA4CB7CCD2}"/>
            </ac:graphicFrameMkLst>
          </pc:graphicFrameChg>
        </pc:sldLayoutChg>
        <pc:sldLayoutChg chg="modSp mod">
          <pc:chgData name="Tysland, Linn Alexandra" userId="9ff34668-37e5-40b3-ba32-9cf58cecaa20" providerId="ADAL" clId="{29487BF7-BBF4-4FD3-A9A7-6C9B1B38D3F0}" dt="2021-06-01T06:56:42.146" v="4091"/>
          <pc:sldLayoutMkLst>
            <pc:docMk/>
            <pc:sldMasterMk cId="4013297763" sldId="2147483648"/>
            <pc:sldLayoutMk cId="2808049575" sldId="2147483663"/>
          </pc:sldLayoutMkLst>
          <pc:spChg chg="mod">
            <ac:chgData name="Tysland, Linn Alexandra" userId="9ff34668-37e5-40b3-ba32-9cf58cecaa20" providerId="ADAL" clId="{29487BF7-BBF4-4FD3-A9A7-6C9B1B38D3F0}" dt="2021-06-01T06:56:40.836" v="3669" actId="20577"/>
            <ac:spMkLst>
              <pc:docMk/>
              <pc:sldMasterMk cId="4013297763" sldId="2147483648"/>
              <pc:sldLayoutMk cId="2808049575" sldId="2147483663"/>
              <ac:spMk id="18" creationId="{00000000-0000-0000-0000-000000000000}"/>
            </ac:spMkLst>
          </pc:spChg>
          <pc:spChg chg="mod">
            <ac:chgData name="Tysland, Linn Alexandra" userId="9ff34668-37e5-40b3-ba32-9cf58cecaa20" providerId="ADAL" clId="{29487BF7-BBF4-4FD3-A9A7-6C9B1B38D3F0}" dt="2021-06-01T06:56:40.842" v="3672" actId="20577"/>
            <ac:spMkLst>
              <pc:docMk/>
              <pc:sldMasterMk cId="4013297763" sldId="2147483648"/>
              <pc:sldLayoutMk cId="2808049575" sldId="2147483663"/>
              <ac:spMk id="19" creationId="{00000000-0000-0000-0000-000000000000}"/>
            </ac:spMkLst>
          </pc:spChg>
          <pc:spChg chg="mod">
            <ac:chgData name="Tysland, Linn Alexandra" userId="9ff34668-37e5-40b3-ba32-9cf58cecaa20" providerId="ADAL" clId="{29487BF7-BBF4-4FD3-A9A7-6C9B1B38D3F0}" dt="2021-06-01T06:56:40.844" v="3673" actId="790"/>
            <ac:spMkLst>
              <pc:docMk/>
              <pc:sldMasterMk cId="4013297763" sldId="2147483648"/>
              <pc:sldLayoutMk cId="2808049575" sldId="2147483663"/>
              <ac:spMk id="20" creationId="{00000000-0000-0000-0000-000000000000}"/>
            </ac:spMkLst>
          </pc:spChg>
          <pc:graphicFrameChg chg="mod">
            <ac:chgData name="Tysland, Linn Alexandra" userId="9ff34668-37e5-40b3-ba32-9cf58cecaa20" providerId="ADAL" clId="{29487BF7-BBF4-4FD3-A9A7-6C9B1B38D3F0}" dt="2021-06-01T06:56:42.146" v="4091"/>
            <ac:graphicFrameMkLst>
              <pc:docMk/>
              <pc:sldMasterMk cId="4013297763" sldId="2147483648"/>
              <pc:sldLayoutMk cId="2808049575" sldId="2147483663"/>
              <ac:graphicFrameMk id="2" creationId="{70B83D3D-A0D2-4F87-A954-F573042B1151}"/>
            </ac:graphicFrameMkLst>
          </pc:graphicFrameChg>
        </pc:sldLayoutChg>
        <pc:sldLayoutChg chg="addSp delSp modSp mod">
          <pc:chgData name="Tysland, Linn Alexandra" userId="9ff34668-37e5-40b3-ba32-9cf58cecaa20" providerId="ADAL" clId="{29487BF7-BBF4-4FD3-A9A7-6C9B1B38D3F0}" dt="2021-06-01T06:56:42.170" v="4103"/>
          <pc:sldLayoutMkLst>
            <pc:docMk/>
            <pc:sldMasterMk cId="4013297763" sldId="2147483648"/>
            <pc:sldLayoutMk cId="4106688513" sldId="2147483664"/>
          </pc:sldLayoutMkLst>
          <pc:spChg chg="mod">
            <ac:chgData name="Tysland, Linn Alexandra" userId="9ff34668-37e5-40b3-ba32-9cf58cecaa20" providerId="ADAL" clId="{29487BF7-BBF4-4FD3-A9A7-6C9B1B38D3F0}" dt="2021-06-01T06:56:41.918" v="3988" actId="948"/>
            <ac:spMkLst>
              <pc:docMk/>
              <pc:sldMasterMk cId="4013297763" sldId="2147483648"/>
              <pc:sldLayoutMk cId="4106688513" sldId="2147483664"/>
              <ac:spMk id="2" creationId="{C50EC1EE-B8FA-427A-97DE-83B0A8543093}"/>
            </ac:spMkLst>
          </pc:spChg>
          <pc:spChg chg="mod">
            <ac:chgData name="Tysland, Linn Alexandra" userId="9ff34668-37e5-40b3-ba32-9cf58cecaa20" providerId="ADAL" clId="{29487BF7-BBF4-4FD3-A9A7-6C9B1B38D3F0}" dt="2021-06-01T06:56:40.850" v="3675" actId="790"/>
            <ac:spMkLst>
              <pc:docMk/>
              <pc:sldMasterMk cId="4013297763" sldId="2147483648"/>
              <pc:sldLayoutMk cId="4106688513" sldId="2147483664"/>
              <ac:spMk id="3" creationId="{7FA32EBD-431F-4445-A2A8-CB73E36E53DB}"/>
            </ac:spMkLst>
          </pc:spChg>
          <pc:spChg chg="mod">
            <ac:chgData name="Tysland, Linn Alexandra" userId="9ff34668-37e5-40b3-ba32-9cf58cecaa20" providerId="ADAL" clId="{29487BF7-BBF4-4FD3-A9A7-6C9B1B38D3F0}" dt="2021-06-01T06:56:40.854" v="3676" actId="790"/>
            <ac:spMkLst>
              <pc:docMk/>
              <pc:sldMasterMk cId="4013297763" sldId="2147483648"/>
              <pc:sldLayoutMk cId="4106688513" sldId="2147483664"/>
              <ac:spMk id="4" creationId="{DD802BD5-B9B4-437A-9852-574CDE9BBB60}"/>
            </ac:spMkLst>
          </pc:spChg>
          <pc:spChg chg="mod">
            <ac:chgData name="Tysland, Linn Alexandra" userId="9ff34668-37e5-40b3-ba32-9cf58cecaa20" providerId="ADAL" clId="{29487BF7-BBF4-4FD3-A9A7-6C9B1B38D3F0}" dt="2021-06-01T06:56:40.858" v="3677" actId="790"/>
            <ac:spMkLst>
              <pc:docMk/>
              <pc:sldMasterMk cId="4013297763" sldId="2147483648"/>
              <pc:sldLayoutMk cId="4106688513" sldId="2147483664"/>
              <ac:spMk id="5" creationId="{25FB6AF0-C0C8-4C73-B464-86DEDDEEA616}"/>
            </ac:spMkLst>
          </pc:spChg>
          <pc:spChg chg="mod">
            <ac:chgData name="Tysland, Linn Alexandra" userId="9ff34668-37e5-40b3-ba32-9cf58cecaa20" providerId="ADAL" clId="{29487BF7-BBF4-4FD3-A9A7-6C9B1B38D3F0}" dt="2021-06-01T06:56:40.867" v="3680" actId="20577"/>
            <ac:spMkLst>
              <pc:docMk/>
              <pc:sldMasterMk cId="4013297763" sldId="2147483648"/>
              <pc:sldLayoutMk cId="4106688513" sldId="2147483664"/>
              <ac:spMk id="6" creationId="{06DBD9A6-5C1B-44F4-9CCA-696699596ABA}"/>
            </ac:spMkLst>
          </pc:spChg>
          <pc:spChg chg="mod">
            <ac:chgData name="Tysland, Linn Alexandra" userId="9ff34668-37e5-40b3-ba32-9cf58cecaa20" providerId="ADAL" clId="{29487BF7-BBF4-4FD3-A9A7-6C9B1B38D3F0}" dt="2021-06-01T06:56:40.869" v="3681" actId="790"/>
            <ac:spMkLst>
              <pc:docMk/>
              <pc:sldMasterMk cId="4013297763" sldId="2147483648"/>
              <pc:sldLayoutMk cId="4106688513" sldId="2147483664"/>
              <ac:spMk id="7" creationId="{7B02B4BB-6743-4EA8-B40B-769F42C16C5B}"/>
            </ac:spMkLst>
          </pc:spChg>
          <pc:spChg chg="add del mod modVis">
            <ac:chgData name="Tysland, Linn Alexandra" userId="9ff34668-37e5-40b3-ba32-9cf58cecaa20" providerId="ADAL" clId="{29487BF7-BBF4-4FD3-A9A7-6C9B1B38D3F0}" dt="2021-06-01T06:56:42.165" v="4101"/>
            <ac:spMkLst>
              <pc:docMk/>
              <pc:sldMasterMk cId="4013297763" sldId="2147483648"/>
              <pc:sldLayoutMk cId="4106688513" sldId="2147483664"/>
              <ac:spMk id="8" creationId="{CF8C34EE-C39A-4340-A275-E1EE86331050}"/>
            </ac:spMkLst>
          </pc:spChg>
          <pc:graphicFrameChg chg="mod">
            <ac:chgData name="Tysland, Linn Alexandra" userId="9ff34668-37e5-40b3-ba32-9cf58cecaa20" providerId="ADAL" clId="{29487BF7-BBF4-4FD3-A9A7-6C9B1B38D3F0}" dt="2021-06-01T06:56:42.170" v="4103"/>
            <ac:graphicFrameMkLst>
              <pc:docMk/>
              <pc:sldMasterMk cId="4013297763" sldId="2147483648"/>
              <pc:sldLayoutMk cId="4106688513" sldId="2147483664"/>
              <ac:graphicFrameMk id="9" creationId="{F15779EC-AD36-4B18-9AEF-EA4050BD8DCC}"/>
            </ac:graphicFrameMkLst>
          </pc:graphicFrame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F2278910-60B6-48EA-9428-1B7080F3C7E2}" type="datetimeFigureOut">
              <a:rPr lang="en-US" smtClean="0"/>
              <a:pPr/>
              <a:t>28.05.2021</a:t>
            </a:fld>
            <a:endParaRPr lang="en-US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stiler</a:t>
            </a:r>
            <a:r>
              <a:rPr lang="en-US" dirty="0"/>
              <a:t> i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CB7942C0-1C85-491B-9A71-A78F2748BF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3617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862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7942C0-1C85-491B-9A71-A78F2748B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7076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835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53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7942C0-1C85-491B-9A71-A78F2748BF3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49440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7942C0-1C85-491B-9A71-A78F2748BF3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4944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079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459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7942C0-1C85-491B-9A71-A78F2748BF3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918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7942C0-1C85-491B-9A71-A78F2748BF3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8892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7942C0-1C85-491B-9A71-A78F2748BF3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737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EC81DE-7596-4EF0-9B11-D22335BEBF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197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EC81DE-7596-4EF0-9B11-D22335BEB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0B18C-41EC-487B-B6CE-B9870E3B53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90751" y="1771650"/>
            <a:ext cx="7829550" cy="1196307"/>
          </a:xfrm>
        </p:spPr>
        <p:txBody>
          <a:bodyPr vert="horz" anchor="b"/>
          <a:lstStyle>
            <a:lvl1pPr algn="ctr" rtl="0">
              <a:defRPr sz="6000">
                <a:solidFill>
                  <a:schemeClr val="accent6"/>
                </a:solidFill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esentasjon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74B5E-59D5-4F09-91FF-3590EFDC82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90750" y="3653505"/>
            <a:ext cx="7829551" cy="1196307"/>
          </a:xfrm>
        </p:spPr>
        <p:txBody>
          <a:bodyPr/>
          <a:lstStyle>
            <a:lvl1pPr marL="0" indent="0" algn="ctr" rtl="0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r>
              <a:rPr lang="en-US" dirty="0"/>
              <a:t>, </a:t>
            </a:r>
            <a:r>
              <a:rPr lang="en-US" dirty="0" err="1"/>
              <a:t>sted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dato</a:t>
            </a:r>
            <a:endParaRPr 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374110-04E3-4C62-885E-2624821AD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4" y="68263"/>
            <a:ext cx="1840145" cy="507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E5D155F-2884-43DC-9710-D9DED23E7F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026" y="4710894"/>
            <a:ext cx="5600700" cy="2635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950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779EC-AD36-4B18-9AEF-EA4050BD8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04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779EC-AD36-4B18-9AEF-EA4050BD8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EC1EE-B8FA-427A-97DE-83B0A8543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32EBD-431F-4445-A2A8-CB73E36E53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02BD5-B9B4-437A-9852-574CDE9BBB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FB6AF0-C0C8-4C73-B464-86DEDDEEA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723EBF7-860A-467C-BB83-1540DD56A0F0}" type="datetimeFigureOut">
              <a:rPr lang="nb-NO" smtClean="0"/>
              <a:pPr/>
              <a:t>01.06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DBD9A6-5C1B-44F4-9CCA-696699596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02B4BB-6743-4EA8-B40B-769F42C16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8EE2FC8-ED95-489D-AD37-6F14490E206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40159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EC81DE-7596-4EF0-9B11-D22335BEBF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59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EC81DE-7596-4EF0-9B11-D22335BEB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0B18C-41EC-487B-B6CE-B9870E3B53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90751" y="1771650"/>
            <a:ext cx="7829550" cy="1196307"/>
          </a:xfrm>
        </p:spPr>
        <p:txBody>
          <a:bodyPr vert="horz" anchor="b"/>
          <a:lstStyle>
            <a:lvl1pPr algn="ctr" rtl="0">
              <a:defRPr sz="6000">
                <a:solidFill>
                  <a:schemeClr val="accent6"/>
                </a:solidFill>
              </a:defRPr>
            </a:lvl1pPr>
          </a:lstStyle>
          <a:p>
            <a:r>
              <a:rPr lang="nb-NO" dirty="0"/>
              <a:t>Tittel på presentasj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74B5E-59D5-4F09-91FF-3590EFDC82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90750" y="3653505"/>
            <a:ext cx="7829551" cy="1196307"/>
          </a:xfrm>
        </p:spPr>
        <p:txBody>
          <a:bodyPr/>
          <a:lstStyle>
            <a:lvl1pPr marL="0" indent="0" algn="ctr" rtl="0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Navn, sted og dato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374110-04E3-4C62-885E-2624821AD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4" y="68263"/>
            <a:ext cx="1840145" cy="507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E5D155F-2884-43DC-9710-D9DED23E7F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026" y="4710894"/>
            <a:ext cx="5600700" cy="2635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7283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B6FC5-F718-4116-B978-30A273414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91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3B6FC5-F718-4116-B978-30A273414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nb-NO" dirty="0"/>
              <a:t>Overskrif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55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farget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A39A70-5DD1-42DD-8836-37BA4CB7C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97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A39A70-5DD1-42DD-8836-37BA4CB7C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Overskrift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1F5EED2-C4E5-4BDF-B118-4E16AA8B65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1999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0B83D3D-A0D2-4F87-A954-F573042B1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095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0B83D3D-A0D2-4F87-A954-F573042B1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lang="nb-NO" dirty="0"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44880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779EC-AD36-4B18-9AEF-EA4050BD8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937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779EC-AD36-4B18-9AEF-EA4050BD8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EC1EE-B8FA-427A-97DE-83B0A8543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32EBD-431F-4445-A2A8-CB73E36E53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02BD5-B9B4-437A-9852-574CDE9BBB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FB6AF0-C0C8-4C73-B464-86DEDDEEA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723EBF7-860A-467C-BB83-1540DD56A0F0}" type="datetimeFigureOut">
              <a:rPr lang="nb-NO" smtClean="0"/>
              <a:pPr/>
              <a:t>01.06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DBD9A6-5C1B-44F4-9CCA-696699596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02B4BB-6743-4EA8-B40B-769F42C16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8EE2FC8-ED95-489D-AD37-6F14490E206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2707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B6FC5-F718-4116-B978-30A273414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42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3B6FC5-F718-4116-B978-30A273414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 err="1"/>
              <a:t>Overskrif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450" y="5963397"/>
            <a:ext cx="22185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966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farget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A39A70-5DD1-42DD-8836-37BA4CB7C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912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A39A70-5DD1-42DD-8836-37BA4CB7C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Overskrift</a:t>
            </a:r>
            <a:r>
              <a:rPr lang="en-US" dirty="0"/>
              <a:t>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1F5EED2-C4E5-4BDF-B118-4E16AA8B65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4975" y="5970875"/>
            <a:ext cx="22185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901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0B83D3D-A0D2-4F87-A954-F573042B1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906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0B83D3D-A0D2-4F87-A954-F573042B1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lang="en-US" dirty="0"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049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5779EC-AD36-4B18-9AEF-EA4050BD8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39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5779EC-AD36-4B18-9AEF-EA4050BD8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0EC1EE-B8FA-427A-97DE-83B0A85430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32EBD-431F-4445-A2A8-CB73E36E53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02BD5-B9B4-437A-9852-574CDE9BBB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FB6AF0-C0C8-4C73-B464-86DEDDEEA6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723EBF7-860A-467C-BB83-1540DD56A0F0}" type="datetimeFigureOut">
              <a:rPr lang="en-US" smtClean="0"/>
              <a:pPr/>
              <a:t>28.05.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DBD9A6-5C1B-44F4-9CCA-696699596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02B4BB-6743-4EA8-B40B-769F42C16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8EE2FC8-ED95-489D-AD37-6F14490E20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688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AEC81DE-7596-4EF0-9B11-D22335BEBF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277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AEC81DE-7596-4EF0-9B11-D22335BEB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60B18C-41EC-487B-B6CE-B9870E3B53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90751" y="1771650"/>
            <a:ext cx="7829550" cy="1196307"/>
          </a:xfrm>
        </p:spPr>
        <p:txBody>
          <a:bodyPr vert="horz" anchor="b"/>
          <a:lstStyle>
            <a:lvl1pPr algn="ctr" rtl="0">
              <a:defRPr sz="6000">
                <a:solidFill>
                  <a:schemeClr val="accent6"/>
                </a:solidFill>
              </a:defRPr>
            </a:lvl1pPr>
          </a:lstStyle>
          <a:p>
            <a:r>
              <a:rPr lang="nb-NO" dirty="0"/>
              <a:t>Tittel på presentasj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8474B5E-59D5-4F09-91FF-3590EFDC82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190750" y="3653505"/>
            <a:ext cx="7829551" cy="1196307"/>
          </a:xfrm>
        </p:spPr>
        <p:txBody>
          <a:bodyPr/>
          <a:lstStyle>
            <a:lvl1pPr marL="0" indent="0" algn="ctr" rtl="0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Navn, sted og dato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04374110-04E3-4C62-885E-2624821AD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4" y="68263"/>
            <a:ext cx="1840145" cy="5075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8E5D155F-2884-43DC-9710-D9DED23E7F6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7026" y="4710894"/>
            <a:ext cx="5600700" cy="2635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171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3B6FC5-F718-4116-B978-30A2734144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498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3B6FC5-F718-4116-B978-30A273414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accent6"/>
                </a:solidFill>
              </a:defRPr>
            </a:lvl1pPr>
          </a:lstStyle>
          <a:p>
            <a:r>
              <a:rPr lang="nb-NO" dirty="0"/>
              <a:t>Overskrif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382CFA6A-5ACF-4874-B267-D837407A81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499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side farget">
    <p:bg>
      <p:bgPr>
        <a:solidFill>
          <a:schemeClr val="accent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4A39A70-5DD1-42DD-8836-37BA4CB7C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05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4A39A70-5DD1-42DD-8836-37BA4CB7C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4942CF-C2FE-4549-959D-87B3375FD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Overskrift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AEB436-9D23-4505-9B44-AD95411B7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75EE42-E8F8-4F45-A3D5-4DE234ECC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190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1F5EED2-C4E5-4BDF-B118-4E16AA8B65E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6800" y="5487147"/>
            <a:ext cx="3505200" cy="1649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8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0B83D3D-A0D2-4F87-A954-F573042B11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62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0B83D3D-A0D2-4F87-A954-F573042B11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lang="nb-NO"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lang="nb-NO" dirty="0"/>
          </a:p>
        </p:txBody>
      </p:sp>
      <p:sp>
        <p:nvSpPr>
          <p:cNvPr id="20" name="Google Shape;20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11773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13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8AD6E-E2C3-43A4-B76F-082A46030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10530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8AD6E-E2C3-43A4-B76F-082A46030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08650F-D91C-445D-A475-106208C96AB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D6C931-8CBD-4AA1-9446-8C015E642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1C175-0C31-4487-B668-E72CFDB56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75B2A-4417-4CB9-B999-3FDF04E228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29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3" r:id="rId4"/>
    <p:sldLayoutId id="2147483664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8AD6E-E2C3-43A4-B76F-082A46030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92210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8AD6E-E2C3-43A4-B76F-082A46030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08650F-D91C-445D-A475-106208C96AB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nb-NO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D6C931-8CBD-4AA1-9446-8C015E642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1C175-0C31-4487-B668-E72CFDB56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69354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D8AD6E-E2C3-43A4-B76F-082A460305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9587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D8AD6E-E2C3-43A4-B76F-082A460305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08650F-D91C-445D-A475-106208C96AB4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nb-NO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DD6C931-8CBD-4AA1-9446-8C015E642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styles</a:t>
            </a:r>
          </a:p>
          <a:p>
            <a:pPr lvl="1"/>
            <a:r>
              <a:rPr lang="nb-NO" dirty="0"/>
              <a:t>Second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/>
              <a:t>Third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/>
              <a:t>Fifth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11C175-0C31-4487-B668-E72CFDB56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75B2A-4417-4CB9-B999-3FDF04E2281A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6985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image" Target="../media/image1.emf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oleObject" Target="../embeddings/oleObject24.bin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tags" Target="../tags/tag5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notesSlide" Target="../notesSlides/notesSlide6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Relationship Id="rId8" Type="http://schemas.openxmlformats.org/officeDocument/2006/relationships/tags" Target="../tags/tag35.xml"/><Relationship Id="rId3" Type="http://schemas.openxmlformats.org/officeDocument/2006/relationships/tags" Target="../tags/tag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0633B5-C80B-457D-B35F-DB33E371BB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493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0633B5-C80B-457D-B35F-DB33E371B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934B7E9-9DAB-4FB2-9903-6FCCBCBE66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5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14F70017-F718-47D0-82D6-6FEAC9283A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56706" y="3653505"/>
            <a:ext cx="7829551" cy="119630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cs typeface="Calibri"/>
              </a:rPr>
              <a:t>Tuesday, June 1st</a:t>
            </a:r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259C57A3-DCF5-41F1-8685-17521427BC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90750" y="2233568"/>
            <a:ext cx="9161462" cy="1196307"/>
          </a:xfrm>
        </p:spPr>
        <p:txBody>
          <a:bodyPr vert="horz">
            <a:noAutofit/>
          </a:bodyPr>
          <a:lstStyle/>
          <a:p>
            <a:pPr>
              <a:spcAft>
                <a:spcPts val="600"/>
              </a:spcAft>
            </a:pPr>
            <a:r>
              <a:rPr lang="en-US" sz="4800" b="1" dirty="0">
                <a:cs typeface="Calibri Light"/>
              </a:rPr>
              <a:t>Prog4Biz/BOTT</a:t>
            </a:r>
          </a:p>
        </p:txBody>
      </p:sp>
    </p:spTree>
    <p:extLst>
      <p:ext uri="{BB962C8B-B14F-4D97-AF65-F5344CB8AC3E}">
        <p14:creationId xmlns:p14="http://schemas.microsoft.com/office/powerpoint/2010/main" val="35560843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4C5D027-F189-4BFF-99A0-9957D4884E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630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4C5D027-F189-4BFF-99A0-9957D4884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B87E28-D98F-471A-BDD9-B55F3C895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6"/>
                </a:solidFill>
              </a:rPr>
              <a:t>What happens now?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20" name="Arrow: Pentagon 19">
            <a:extLst>
              <a:ext uri="{FF2B5EF4-FFF2-40B4-BE49-F238E27FC236}">
                <a16:creationId xmlns:a16="http://schemas.microsoft.com/office/drawing/2014/main" id="{6823D38A-BD03-45F1-9213-352EBB416FFF}"/>
              </a:ext>
            </a:extLst>
          </p:cNvPr>
          <p:cNvSpPr/>
          <p:nvPr/>
        </p:nvSpPr>
        <p:spPr bwMode="gray">
          <a:xfrm>
            <a:off x="610401" y="2241848"/>
            <a:ext cx="5846057" cy="3339968"/>
          </a:xfrm>
          <a:prstGeom prst="homePlate">
            <a:avLst>
              <a:gd name="adj" fmla="val 27588"/>
            </a:avLst>
          </a:prstGeom>
          <a:solidFill>
            <a:srgbClr val="FFFFFF">
              <a:lumMod val="9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19FDA64-63C5-41BA-BDA6-A948BD39268D}"/>
              </a:ext>
            </a:extLst>
          </p:cNvPr>
          <p:cNvSpPr/>
          <p:nvPr/>
        </p:nvSpPr>
        <p:spPr bwMode="gray">
          <a:xfrm>
            <a:off x="610401" y="2105890"/>
            <a:ext cx="4932000" cy="108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4C765175-9F91-444A-9FCE-61BB5BC2C38C}"/>
              </a:ext>
            </a:extLst>
          </p:cNvPr>
          <p:cNvSpPr txBox="1">
            <a:spLocks/>
          </p:cNvSpPr>
          <p:nvPr/>
        </p:nvSpPr>
        <p:spPr>
          <a:xfrm>
            <a:off x="469898" y="1839634"/>
            <a:ext cx="4672053" cy="409427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xt steps</a:t>
            </a:r>
            <a:endParaRPr kumimoji="0" lang="en-US" sz="1600" b="1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339E395-27C8-4D4D-8720-03A602006C8A}"/>
              </a:ext>
            </a:extLst>
          </p:cNvPr>
          <p:cNvSpPr txBox="1"/>
          <p:nvPr/>
        </p:nvSpPr>
        <p:spPr>
          <a:xfrm>
            <a:off x="306127" y="2330957"/>
            <a:ext cx="4672051" cy="1140106"/>
          </a:xfrm>
          <a:prstGeom prst="rect">
            <a:avLst/>
          </a:prstGeom>
          <a:noFill/>
        </p:spPr>
        <p:txBody>
          <a:bodyPr wrap="square" lIns="180000" tIns="108000" rIns="324000" bIns="0" rtlCol="0" anchor="t">
            <a:spAutoFit/>
          </a:bodyPr>
          <a:lstStyle/>
          <a:p>
            <a:pPr marL="360045" indent="-233045">
              <a:buSzPct val="150000"/>
              <a:buFont typeface="Arial"/>
              <a:buChar char="•"/>
              <a:tabLst>
                <a:tab pos="360363" algn="l"/>
              </a:tabLst>
            </a:pPr>
            <a:r>
              <a:rPr lang="en-US" sz="1100" dirty="0">
                <a:solidFill>
                  <a:srgbClr val="000000"/>
                </a:solidFill>
                <a:latin typeface="Verdana"/>
              </a:rPr>
              <a:t>Workshops</a:t>
            </a:r>
          </a:p>
          <a:p>
            <a:pPr marL="817245" lvl="1" indent="-233045">
              <a:spcAft>
                <a:spcPts val="1200"/>
              </a:spcAft>
              <a:buSzPct val="150000"/>
              <a:buFont typeface="Arial"/>
              <a:buChar char="•"/>
              <a:tabLst>
                <a:tab pos="360363" algn="l"/>
              </a:tabLst>
            </a:pPr>
            <a:r>
              <a:rPr lang="en-US" sz="1100" dirty="0">
                <a:solidFill>
                  <a:srgbClr val="000000"/>
                </a:solidFill>
                <a:latin typeface="Verdana"/>
              </a:rPr>
              <a:t>K1 &amp; K2: End-to-end test – </a:t>
            </a:r>
            <a:r>
              <a:rPr lang="en-US" sz="1100" b="1" dirty="0">
                <a:solidFill>
                  <a:srgbClr val="000000"/>
                </a:solidFill>
                <a:latin typeface="Verdana"/>
              </a:rPr>
              <a:t>June 10</a:t>
            </a:r>
            <a:r>
              <a:rPr lang="en-US" sz="1100" b="1" baseline="30000" dirty="0">
                <a:solidFill>
                  <a:srgbClr val="000000"/>
                </a:solidFill>
                <a:latin typeface="Verdana"/>
              </a:rPr>
              <a:t>th</a:t>
            </a:r>
            <a:endParaRPr lang="en-US" sz="1100" b="1" dirty="0">
              <a:solidFill>
                <a:srgbClr val="000000"/>
              </a:solidFill>
              <a:latin typeface="Verdana"/>
            </a:endParaRPr>
          </a:p>
          <a:p>
            <a:pPr marL="817245" lvl="1" indent="-233045">
              <a:spcAft>
                <a:spcPts val="1200"/>
              </a:spcAft>
              <a:buSzPct val="150000"/>
              <a:buFont typeface="Arial"/>
              <a:buChar char="•"/>
              <a:tabLst>
                <a:tab pos="360363" algn="l"/>
              </a:tabLst>
            </a:pPr>
            <a:r>
              <a:rPr lang="en-US" sz="1100" dirty="0">
                <a:solidFill>
                  <a:srgbClr val="000000"/>
                </a:solidFill>
                <a:latin typeface="Verdana"/>
              </a:rPr>
              <a:t>K2: End-to-end test </a:t>
            </a:r>
            <a:r>
              <a:rPr lang="en-US" sz="1100" b="1" dirty="0">
                <a:solidFill>
                  <a:srgbClr val="000000"/>
                </a:solidFill>
                <a:latin typeface="Verdana"/>
              </a:rPr>
              <a:t>– June 17th</a:t>
            </a:r>
          </a:p>
          <a:p>
            <a:pPr marL="584200" lvl="1">
              <a:spcAft>
                <a:spcPts val="1200"/>
              </a:spcAft>
              <a:buSzPct val="150000"/>
              <a:tabLst>
                <a:tab pos="360363" algn="l"/>
              </a:tabLst>
            </a:pPr>
            <a:endParaRPr lang="en-US" sz="1400" b="1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BBB8E8BB-A369-4C77-97C4-4A22DC3F8D3F}"/>
              </a:ext>
            </a:extLst>
          </p:cNvPr>
          <p:cNvSpPr/>
          <p:nvPr/>
        </p:nvSpPr>
        <p:spPr bwMode="gray">
          <a:xfrm>
            <a:off x="6096000" y="2241848"/>
            <a:ext cx="5437950" cy="3339968"/>
          </a:xfrm>
          <a:prstGeom prst="chevron">
            <a:avLst>
              <a:gd name="adj" fmla="val 26709"/>
            </a:avLst>
          </a:prstGeom>
          <a:solidFill>
            <a:srgbClr val="FFFFFF">
              <a:lumMod val="95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lvl="0">
              <a:lnSpc>
                <a:spcPct val="106000"/>
              </a:lnSpc>
              <a:spcAft>
                <a:spcPts val="1200"/>
              </a:spcAft>
            </a:pPr>
            <a:r>
              <a:rPr lang="en-US" sz="1100" b="1" kern="0" dirty="0">
                <a:solidFill>
                  <a:srgbClr val="000000"/>
                </a:solidFill>
                <a:latin typeface="Verdana"/>
                <a:ea typeface="Verdana"/>
              </a:rPr>
              <a:t>K1 &amp; K2:</a:t>
            </a:r>
          </a:p>
          <a:p>
            <a:pPr marL="342900" indent="-342900">
              <a:lnSpc>
                <a:spcPct val="106000"/>
              </a:lnSpc>
              <a:spcAft>
                <a:spcPts val="1200"/>
              </a:spcAft>
              <a:buFont typeface="Wingdings 2" pitchFamily="18" charset="2"/>
              <a:buAutoNum type="arabicPeriod"/>
            </a:pP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Prog4Biz - Unit test API for K1</a:t>
            </a:r>
          </a:p>
          <a:p>
            <a:pPr marL="342900" indent="-342900">
              <a:lnSpc>
                <a:spcPct val="106000"/>
              </a:lnSpc>
              <a:spcAft>
                <a:spcPts val="1200"/>
              </a:spcAft>
              <a:buFont typeface="Wingdings 2" pitchFamily="18" charset="2"/>
              <a:buAutoNum type="arabicPeriod"/>
            </a:pP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Linn - Send invites to WS</a:t>
            </a:r>
          </a:p>
          <a:p>
            <a:pPr marL="342900" lvl="0" indent="-342900">
              <a:lnSpc>
                <a:spcPct val="106000"/>
              </a:lnSpc>
              <a:spcAft>
                <a:spcPts val="1200"/>
              </a:spcAft>
              <a:buFont typeface="Wingdings 2" pitchFamily="18" charset="2"/>
              <a:buAutoNum type="arabicPeriod"/>
            </a:pP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Jo – Contact Ernst regarding K1 testing, and K2 when it is ready</a:t>
            </a:r>
          </a:p>
          <a:p>
            <a:pPr marL="342900" lvl="0" indent="-342900">
              <a:lnSpc>
                <a:spcPct val="106000"/>
              </a:lnSpc>
              <a:spcAft>
                <a:spcPts val="1200"/>
              </a:spcAft>
              <a:buFont typeface="Wingdings 2" pitchFamily="18" charset="2"/>
              <a:buAutoNum type="arabicPeriod"/>
            </a:pP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Sindre - set up sub-projects and test environment for K1/K2, and coordinate project API set up for production </a:t>
            </a:r>
          </a:p>
          <a:p>
            <a:pPr lvl="0">
              <a:lnSpc>
                <a:spcPct val="106000"/>
              </a:lnSpc>
              <a:spcAft>
                <a:spcPts val="1200"/>
              </a:spcAft>
            </a:pPr>
            <a:r>
              <a:rPr lang="en-US" sz="1100" b="1" kern="0" dirty="0">
                <a:solidFill>
                  <a:srgbClr val="000000"/>
                </a:solidFill>
                <a:latin typeface="Verdana"/>
                <a:ea typeface="Verdana"/>
              </a:rPr>
              <a:t>K4 &amp; K5 </a:t>
            </a:r>
          </a:p>
          <a:p>
            <a:pPr marL="342900" lvl="0" indent="-342900">
              <a:lnSpc>
                <a:spcPct val="106000"/>
              </a:lnSpc>
              <a:spcAft>
                <a:spcPts val="1200"/>
              </a:spcAft>
              <a:buFont typeface="Wingdings 2" pitchFamily="18" charset="2"/>
              <a:buAutoNum type="arabicPeriod"/>
            </a:pP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Prog4Biz – provide deadlines for K4 and K5 by June 10</a:t>
            </a:r>
            <a:r>
              <a:rPr lang="en-US" sz="1100" kern="0" baseline="30000" dirty="0">
                <a:solidFill>
                  <a:srgbClr val="000000"/>
                </a:solidFill>
                <a:latin typeface="Verdana"/>
                <a:ea typeface="Verdana"/>
              </a:rPr>
              <a:t>th</a:t>
            </a:r>
            <a:r>
              <a:rPr lang="en-US" sz="1100" kern="0" dirty="0">
                <a:solidFill>
                  <a:srgbClr val="000000"/>
                </a:solidFill>
                <a:latin typeface="Verdana"/>
                <a:ea typeface="Verdana"/>
              </a:rPr>
              <a:t> 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04DD6FC-D3E3-46F3-ADE9-E6BA6E78CA11}"/>
              </a:ext>
            </a:extLst>
          </p:cNvPr>
          <p:cNvSpPr/>
          <p:nvPr/>
        </p:nvSpPr>
        <p:spPr bwMode="gray">
          <a:xfrm>
            <a:off x="6108587" y="2105889"/>
            <a:ext cx="4536000" cy="10812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4EE1ECB6-5920-46B7-BCCF-B594D42CDDFB}"/>
              </a:ext>
            </a:extLst>
          </p:cNvPr>
          <p:cNvSpPr txBox="1">
            <a:spLocks/>
          </p:cNvSpPr>
          <p:nvPr/>
        </p:nvSpPr>
        <p:spPr>
          <a:xfrm>
            <a:off x="5955496" y="1944299"/>
            <a:ext cx="4672053" cy="215653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​"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5194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5188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0382" indent="-235194" algn="l" defTabSz="1064657" rtl="0" eaLnBrk="1" latinLnBrk="0" hangingPunct="1">
              <a:spcBef>
                <a:spcPts val="0"/>
              </a:spcBef>
              <a:spcAft>
                <a:spcPts val="1333"/>
              </a:spcAft>
              <a:buClrTx/>
              <a:buSzPct val="100000"/>
              <a:buFont typeface="Verdana" panose="020B0604030504040204" pitchFamily="34" charset="0"/>
              <a:buChar char="−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>
                <a:solidFill>
                  <a:srgbClr val="000000"/>
                </a:solidFill>
                <a:latin typeface="Verdana"/>
              </a:rPr>
              <a:t>Action points</a:t>
            </a:r>
            <a:endParaRPr lang="en-US" sz="1600" b="1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D90E4358-9352-425B-A570-8D4C49C7ED2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450" y="5963397"/>
            <a:ext cx="2218500" cy="10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4220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5378BB8-B05B-43C8-BD44-1B78EB9A55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939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5378BB8-B05B-43C8-BD44-1B78EB9A5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45857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069C3C-DFD7-4C21-B03A-10E73AB85E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576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069C3C-DFD7-4C21-B03A-10E73AB85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540213-970E-4538-9296-DFCB0240B8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1F3059-C7E8-46B1-BA65-26D1D18969D5}"/>
              </a:ext>
            </a:extLst>
          </p:cNvPr>
          <p:cNvSpPr txBox="1">
            <a:spLocks/>
          </p:cNvSpPr>
          <p:nvPr/>
        </p:nvSpPr>
        <p:spPr>
          <a:xfrm>
            <a:off x="6027491" y="1918728"/>
            <a:ext cx="5797550" cy="407851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6096000" algn="l"/>
                <a:tab pos="6457950" algn="l"/>
                <a:tab pos="8691563" algn="l"/>
              </a:tabLst>
            </a:pPr>
            <a:endParaRPr lang="en-US" sz="2000" b="1" dirty="0">
              <a:solidFill>
                <a:schemeClr val="bg1"/>
              </a:solidFill>
            </a:endParaRPr>
          </a:p>
          <a:p>
            <a:pPr marL="342900" indent="-342900">
              <a:spcBef>
                <a:spcPts val="600"/>
              </a:spcBef>
              <a:spcAft>
                <a:spcPts val="1800"/>
              </a:spcAft>
              <a:buClr>
                <a:schemeClr val="accent1"/>
              </a:buClr>
              <a:buFont typeface="+mj-lt"/>
              <a:buAutoNum type="arabicPeriod"/>
              <a:tabLst>
                <a:tab pos="6096000" algn="l"/>
                <a:tab pos="6457950" algn="l"/>
                <a:tab pos="8691563" algn="l"/>
              </a:tabLst>
            </a:pPr>
            <a:r>
              <a:rPr lang="en-US" sz="2400" b="1" dirty="0">
                <a:solidFill>
                  <a:schemeClr val="tx2"/>
                </a:solidFill>
              </a:rPr>
              <a:t>Introduction | </a:t>
            </a:r>
            <a:r>
              <a:rPr lang="en-US" sz="2400" dirty="0"/>
              <a:t>Round-table introductions</a:t>
            </a:r>
          </a:p>
          <a:p>
            <a:pPr marL="342900" indent="-342900">
              <a:spcBef>
                <a:spcPts val="600"/>
              </a:spcBef>
              <a:spcAft>
                <a:spcPts val="1800"/>
              </a:spcAft>
              <a:buClr>
                <a:schemeClr val="accent1"/>
              </a:buClr>
              <a:buFont typeface="+mj-lt"/>
              <a:buAutoNum type="arabicPeriod"/>
              <a:tabLst>
                <a:tab pos="6096000" algn="l"/>
                <a:tab pos="6457950" algn="l"/>
                <a:tab pos="8691563" algn="l"/>
              </a:tabLst>
            </a:pPr>
            <a:r>
              <a:rPr lang="en-US" sz="2400" b="1" dirty="0">
                <a:solidFill>
                  <a:schemeClr val="tx2"/>
                </a:solidFill>
              </a:rPr>
              <a:t>BOTT update | </a:t>
            </a:r>
            <a:r>
              <a:rPr lang="en-US" sz="2400" dirty="0"/>
              <a:t>Integration for external invoicing</a:t>
            </a:r>
          </a:p>
          <a:p>
            <a:pPr marL="342900" indent="-342900">
              <a:spcBef>
                <a:spcPts val="600"/>
              </a:spcBef>
              <a:spcAft>
                <a:spcPts val="1800"/>
              </a:spcAft>
              <a:buClr>
                <a:schemeClr val="accent1"/>
              </a:buClr>
              <a:buFont typeface="+mj-lt"/>
              <a:buAutoNum type="arabicPeriod"/>
              <a:tabLst>
                <a:tab pos="6096000" algn="l"/>
                <a:tab pos="6457950" algn="l"/>
                <a:tab pos="8691563" algn="l"/>
              </a:tabLst>
            </a:pPr>
            <a:r>
              <a:rPr lang="en-US" sz="2400" b="1" dirty="0">
                <a:solidFill>
                  <a:schemeClr val="tx2"/>
                </a:solidFill>
              </a:rPr>
              <a:t>Milestones and deadlines | </a:t>
            </a:r>
            <a:r>
              <a:rPr lang="en-US" sz="2400" dirty="0"/>
              <a:t>An overall plan for finishing internal invoicing</a:t>
            </a:r>
          </a:p>
          <a:p>
            <a:pPr marL="342900" indent="-342900">
              <a:spcBef>
                <a:spcPts val="600"/>
              </a:spcBef>
              <a:spcAft>
                <a:spcPts val="1800"/>
              </a:spcAft>
              <a:buClr>
                <a:schemeClr val="accent1"/>
              </a:buClr>
              <a:buFont typeface="+mj-lt"/>
              <a:buAutoNum type="arabicPeriod"/>
              <a:tabLst>
                <a:tab pos="6096000" algn="l"/>
                <a:tab pos="6457950" algn="l"/>
                <a:tab pos="8691563" algn="l"/>
              </a:tabLst>
            </a:pPr>
            <a:r>
              <a:rPr lang="en-US" sz="2400" b="1" dirty="0">
                <a:solidFill>
                  <a:schemeClr val="tx2"/>
                </a:solidFill>
              </a:rPr>
              <a:t>Next steps | </a:t>
            </a:r>
            <a:r>
              <a:rPr lang="en-US" sz="2400" dirty="0"/>
              <a:t>What happens now?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6A1A41-9876-4F9A-9C53-5F089F47FAB3}"/>
              </a:ext>
            </a:extLst>
          </p:cNvPr>
          <p:cNvSpPr/>
          <p:nvPr/>
        </p:nvSpPr>
        <p:spPr>
          <a:xfrm>
            <a:off x="1658570" y="2160575"/>
            <a:ext cx="366672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The purpose of this meeting is to discuss the progress so far and become aligned on what will happen next</a:t>
            </a:r>
          </a:p>
        </p:txBody>
      </p:sp>
    </p:spTree>
    <p:extLst>
      <p:ext uri="{BB962C8B-B14F-4D97-AF65-F5344CB8AC3E}">
        <p14:creationId xmlns:p14="http://schemas.microsoft.com/office/powerpoint/2010/main" val="135299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A1A616-5D2B-4272-AE8C-25F48B9B5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2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A1A616-5D2B-4272-AE8C-25F48B9B5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70383C-115B-474C-AEB6-F19C3CAA2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6090"/>
            <a:ext cx="10515600" cy="1325563"/>
          </a:xfrm>
        </p:spPr>
        <p:txBody>
          <a:bodyPr vert="horz"/>
          <a:lstStyle/>
          <a:p>
            <a:r>
              <a:rPr lang="nb-NO" b="1" dirty="0"/>
              <a:t>1. </a:t>
            </a:r>
            <a:r>
              <a:rPr lang="nb-NO" b="1" dirty="0" err="1"/>
              <a:t>Introduction</a:t>
            </a:r>
            <a:r>
              <a:rPr lang="nb-NO" b="1" dirty="0"/>
              <a:t> | </a:t>
            </a:r>
            <a:r>
              <a:rPr lang="nb-NO" dirty="0" err="1"/>
              <a:t>Round-table</a:t>
            </a:r>
            <a:r>
              <a:rPr lang="nb-NO" dirty="0"/>
              <a:t> </a:t>
            </a:r>
            <a:r>
              <a:rPr lang="nb-NO" dirty="0" err="1"/>
              <a:t>introductions</a:t>
            </a:r>
            <a:br>
              <a:rPr lang="nb-NO" b="1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8793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A1A616-5D2B-4272-AE8C-25F48B9B5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747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A1A616-5D2B-4272-AE8C-25F48B9B5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70383C-115B-474C-AEB6-F19C3CAA2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6090"/>
            <a:ext cx="10515600" cy="1325563"/>
          </a:xfrm>
        </p:spPr>
        <p:txBody>
          <a:bodyPr vert="horz">
            <a:normAutofit fontScale="90000"/>
          </a:bodyPr>
          <a:lstStyle/>
          <a:p>
            <a:r>
              <a:rPr lang="nb-NO" sz="4900" b="1" dirty="0"/>
              <a:t>2. BOTT </a:t>
            </a:r>
            <a:r>
              <a:rPr lang="nb-NO" sz="4900" b="1" dirty="0" err="1"/>
              <a:t>update</a:t>
            </a:r>
            <a:r>
              <a:rPr lang="nb-NO" sz="4900" b="1" dirty="0"/>
              <a:t> | </a:t>
            </a:r>
            <a:r>
              <a:rPr lang="nb-NO" sz="4900" dirty="0"/>
              <a:t>Integration for </a:t>
            </a:r>
            <a:r>
              <a:rPr lang="nb-NO" sz="4900" dirty="0" err="1"/>
              <a:t>external</a:t>
            </a:r>
            <a:r>
              <a:rPr lang="nb-NO" sz="4900" dirty="0"/>
              <a:t> </a:t>
            </a:r>
            <a:r>
              <a:rPr lang="nb-NO" sz="4900" dirty="0" err="1"/>
              <a:t>invoicing</a:t>
            </a:r>
            <a:br>
              <a:rPr lang="nb-NO" b="1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87408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E0A4009-6A04-4744-B8AB-7D4D7B5D9E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5305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E0A4009-6A04-4744-B8AB-7D4D7B5D9E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F49AC4-F463-4005-862A-D601152AF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OTT updat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B2BD47-45BB-446D-8561-786E83F24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362955"/>
            <a:ext cx="4422773" cy="38140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dirty="0" err="1"/>
              <a:t>BookitLab</a:t>
            </a:r>
            <a:r>
              <a:rPr lang="en-US" sz="1400" b="1" dirty="0"/>
              <a:t> sales order/external invoicing integration</a:t>
            </a:r>
          </a:p>
          <a:p>
            <a:r>
              <a:rPr lang="en-US" sz="1400" dirty="0"/>
              <a:t>The creation of functional design for external invoicing integration has begun</a:t>
            </a:r>
          </a:p>
          <a:p>
            <a:r>
              <a:rPr lang="en-US" sz="1400" dirty="0"/>
              <a:t>Conducted two workshops so far </a:t>
            </a:r>
          </a:p>
          <a:p>
            <a:r>
              <a:rPr lang="en-US" sz="1400" dirty="0"/>
              <a:t>All universities are involved</a:t>
            </a:r>
          </a:p>
          <a:p>
            <a:r>
              <a:rPr lang="en-US" sz="1400" dirty="0"/>
              <a:t>Topics: </a:t>
            </a:r>
          </a:p>
          <a:p>
            <a:pPr lvl="1"/>
            <a:r>
              <a:rPr lang="en-US" sz="1400" dirty="0"/>
              <a:t>Fields in invoice</a:t>
            </a:r>
          </a:p>
          <a:p>
            <a:pPr lvl="1"/>
            <a:r>
              <a:rPr lang="en-US" sz="1400" dirty="0"/>
              <a:t>The different types of sale (instrument, service, prop etc.) </a:t>
            </a:r>
          </a:p>
          <a:p>
            <a:r>
              <a:rPr lang="en-US" sz="1400" dirty="0"/>
              <a:t>Functional design is estimated to be completed by end of June</a:t>
            </a:r>
          </a:p>
          <a:p>
            <a:pPr lvl="1"/>
            <a:endParaRPr lang="en-US" sz="1200" dirty="0"/>
          </a:p>
        </p:txBody>
      </p:sp>
      <p:graphicFrame>
        <p:nvGraphicFramePr>
          <p:cNvPr id="4" name="Table 8">
            <a:extLst>
              <a:ext uri="{FF2B5EF4-FFF2-40B4-BE49-F238E27FC236}">
                <a16:creationId xmlns:a16="http://schemas.microsoft.com/office/drawing/2014/main" id="{52A32AFB-71CA-4F81-99EA-03ABAC2BCB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5308604"/>
              </p:ext>
            </p:extLst>
          </p:nvPr>
        </p:nvGraphicFramePr>
        <p:xfrm>
          <a:off x="5476973" y="2362955"/>
          <a:ext cx="5876830" cy="3208172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1175366">
                  <a:extLst>
                    <a:ext uri="{9D8B030D-6E8A-4147-A177-3AD203B41FA5}">
                      <a16:colId xmlns:a16="http://schemas.microsoft.com/office/drawing/2014/main" val="2768095167"/>
                    </a:ext>
                  </a:extLst>
                </a:gridCol>
                <a:gridCol w="1175366">
                  <a:extLst>
                    <a:ext uri="{9D8B030D-6E8A-4147-A177-3AD203B41FA5}">
                      <a16:colId xmlns:a16="http://schemas.microsoft.com/office/drawing/2014/main" val="2371646984"/>
                    </a:ext>
                  </a:extLst>
                </a:gridCol>
                <a:gridCol w="1175366">
                  <a:extLst>
                    <a:ext uri="{9D8B030D-6E8A-4147-A177-3AD203B41FA5}">
                      <a16:colId xmlns:a16="http://schemas.microsoft.com/office/drawing/2014/main" val="2892348067"/>
                    </a:ext>
                  </a:extLst>
                </a:gridCol>
                <a:gridCol w="1175366">
                  <a:extLst>
                    <a:ext uri="{9D8B030D-6E8A-4147-A177-3AD203B41FA5}">
                      <a16:colId xmlns:a16="http://schemas.microsoft.com/office/drawing/2014/main" val="1589447249"/>
                    </a:ext>
                  </a:extLst>
                </a:gridCol>
                <a:gridCol w="1175366">
                  <a:extLst>
                    <a:ext uri="{9D8B030D-6E8A-4147-A177-3AD203B41FA5}">
                      <a16:colId xmlns:a16="http://schemas.microsoft.com/office/drawing/2014/main" val="941559441"/>
                    </a:ext>
                  </a:extLst>
                </a:gridCol>
              </a:tblGrid>
              <a:tr h="284232">
                <a:tc rowSpan="2"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r>
                        <a:rPr 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y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 rtl="0"/>
                      <a:r>
                        <a:rPr lang="en-US" sz="12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June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nb-NO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5487005"/>
                  </a:ext>
                </a:extLst>
              </a:tr>
              <a:tr h="269165">
                <a:tc v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7.05-21.05</a:t>
                      </a:r>
                      <a:endParaRPr lang="en-US" sz="11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4.05-28.05</a:t>
                      </a:r>
                      <a:endParaRPr lang="en-US" sz="11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1.05 – 04.06</a:t>
                      </a:r>
                      <a:endParaRPr lang="en-US" sz="11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10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7.06-11-06</a:t>
                      </a:r>
                      <a:endParaRPr lang="en-US" sz="11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40377918"/>
                  </a:ext>
                </a:extLst>
              </a:tr>
              <a:tr h="5309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Kick-off meeting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49134500"/>
                  </a:ext>
                </a:extLst>
              </a:tr>
              <a:tr h="5309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Workshop 1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16433594"/>
                  </a:ext>
                </a:extLst>
              </a:tr>
              <a:tr h="5309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Workshop 2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87125076"/>
                  </a:ext>
                </a:extLst>
              </a:tr>
              <a:tr h="5309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Workshop 3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98647152"/>
                  </a:ext>
                </a:extLst>
              </a:tr>
              <a:tr h="530955">
                <a:tc>
                  <a:txBody>
                    <a:bodyPr/>
                    <a:lstStyle/>
                    <a:p>
                      <a:pPr rtl="0"/>
                      <a:r>
                        <a:rPr lang="en-US" sz="1200" b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Workshop 4</a:t>
                      </a:r>
                      <a:endParaRPr lang="en-US" sz="1200" b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90574847"/>
                  </a:ext>
                </a:extLst>
              </a:tr>
            </a:tbl>
          </a:graphicData>
        </a:graphic>
      </p:graphicFrame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7B530DF-82A1-4A4E-9038-66A58999B712}"/>
              </a:ext>
            </a:extLst>
          </p:cNvPr>
          <p:cNvSpPr>
            <a:spLocks noChangeAspect="1"/>
          </p:cNvSpPr>
          <p:nvPr/>
        </p:nvSpPr>
        <p:spPr bwMode="gray">
          <a:xfrm>
            <a:off x="6941527" y="3040813"/>
            <a:ext cx="216000" cy="216000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ersk Text"/>
              <a:ea typeface="+mn-ea"/>
              <a:cs typeface="+mn-cs"/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B4A92532-F3BB-4B02-8839-62358EE80FA3}"/>
              </a:ext>
            </a:extLst>
          </p:cNvPr>
          <p:cNvSpPr>
            <a:spLocks noChangeAspect="1"/>
          </p:cNvSpPr>
          <p:nvPr/>
        </p:nvSpPr>
        <p:spPr bwMode="gray">
          <a:xfrm>
            <a:off x="9186679" y="4128831"/>
            <a:ext cx="216000" cy="216000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ersk Text"/>
              <a:ea typeface="+mn-ea"/>
              <a:cs typeface="+mn-cs"/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75BCB9B-59D9-42D0-9943-FDFE126A321C}"/>
              </a:ext>
            </a:extLst>
          </p:cNvPr>
          <p:cNvSpPr>
            <a:spLocks noChangeAspect="1"/>
          </p:cNvSpPr>
          <p:nvPr/>
        </p:nvSpPr>
        <p:spPr bwMode="gray">
          <a:xfrm>
            <a:off x="8199388" y="3578294"/>
            <a:ext cx="216000" cy="216000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ersk Text"/>
              <a:ea typeface="+mn-ea"/>
              <a:cs typeface="+mn-cs"/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20FBAA5F-DD02-4DD6-8871-14D5A53B1522}"/>
              </a:ext>
            </a:extLst>
          </p:cNvPr>
          <p:cNvSpPr>
            <a:spLocks noChangeAspect="1"/>
          </p:cNvSpPr>
          <p:nvPr/>
        </p:nvSpPr>
        <p:spPr bwMode="gray">
          <a:xfrm>
            <a:off x="9782139" y="4685008"/>
            <a:ext cx="216000" cy="216000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ersk Text"/>
              <a:ea typeface="+mn-ea"/>
              <a:cs typeface="+mn-cs"/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86A874E6-7F66-4CDF-9F82-4CA58C9E3B53}"/>
              </a:ext>
            </a:extLst>
          </p:cNvPr>
          <p:cNvSpPr>
            <a:spLocks noChangeAspect="1"/>
          </p:cNvSpPr>
          <p:nvPr/>
        </p:nvSpPr>
        <p:spPr bwMode="gray">
          <a:xfrm>
            <a:off x="10679256" y="5214480"/>
            <a:ext cx="216000" cy="216000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ersk Tex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0447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>
            <a:extLst>
              <a:ext uri="{FF2B5EF4-FFF2-40B4-BE49-F238E27FC236}">
                <a16:creationId xmlns:a16="http://schemas.microsoft.com/office/drawing/2014/main" id="{0C7FCCC1-B9F7-4F18-948A-F393939125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987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38" imgW="473" imgH="473" progId="TCLayout.ActiveDocument.1">
                  <p:embed/>
                </p:oleObj>
              </mc:Choice>
              <mc:Fallback>
                <p:oleObj name="think-cell Slide" r:id="rId38" imgW="473" imgH="473" progId="TCLayout.ActiveDocument.1">
                  <p:embed/>
                  <p:pic>
                    <p:nvPicPr>
                      <p:cNvPr id="66" name="Object 65" hidden="1">
                        <a:extLst>
                          <a:ext uri="{FF2B5EF4-FFF2-40B4-BE49-F238E27FC236}">
                            <a16:creationId xmlns:a16="http://schemas.microsoft.com/office/drawing/2014/main" id="{0C7FCCC1-B9F7-4F18-948A-F39393912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F39D1F-F713-4534-9FB0-FA7372AFF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imeline: Sales order/ external invoicing</a:t>
            </a:r>
          </a:p>
        </p:txBody>
      </p:sp>
      <p:sp>
        <p:nvSpPr>
          <p:cNvPr id="313" name="Rectangle 312">
            <a:extLst>
              <a:ext uri="{FF2B5EF4-FFF2-40B4-BE49-F238E27FC236}">
                <a16:creationId xmlns:a16="http://schemas.microsoft.com/office/drawing/2014/main" id="{6A0755D9-3238-455A-9B18-EFF4EC01C6F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761163" y="2370138"/>
            <a:ext cx="714375" cy="2959100"/>
          </a:xfrm>
          <a:prstGeom prst="rect">
            <a:avLst/>
          </a:prstGeom>
          <a:solidFill>
            <a:srgbClr val="C0C0C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49F77CA7-ADC6-4D80-B654-BA538748D8D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70600" y="2157413"/>
            <a:ext cx="690563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91C71-2E79-4853-9A6C-40AAEFDC17F4}" type="datetime'''''''''j''''''u''''''''''''''''''n''''''''''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3346E52-6AC3-4348-AC75-C61876BE80D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761163" y="2157413"/>
            <a:ext cx="714375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FC4A387-428E-4308-90FD-791F2E349B0A}" type="datetime'''''''''j''''''''''''''''''u''''''''''''''''l''''''''''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4" name="Text Placeholder 2">
            <a:extLst>
              <a:ext uri="{FF2B5EF4-FFF2-40B4-BE49-F238E27FC236}">
                <a16:creationId xmlns:a16="http://schemas.microsoft.com/office/drawing/2014/main" id="{85C24F8C-EC27-43CB-B625-7D4AA69EAC6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75538" y="2157413"/>
            <a:ext cx="712788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10519B-12F4-4FD5-A740-BAA9FEF49256}" type="datetime'''''''''''''''''''''''''''a''''u''''''''''''''g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5" name="Text Placeholder 2">
            <a:extLst>
              <a:ext uri="{FF2B5EF4-FFF2-40B4-BE49-F238E27FC236}">
                <a16:creationId xmlns:a16="http://schemas.microsoft.com/office/drawing/2014/main" id="{3D633F8A-B7A2-4DA9-8C65-1F43B62F986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188325" y="2157413"/>
            <a:ext cx="692150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A72684-F8AB-4E73-A02F-7EF0861511DB}" type="datetime'se''''''''''p''''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6" name="Text Placeholder 2">
            <a:extLst>
              <a:ext uri="{FF2B5EF4-FFF2-40B4-BE49-F238E27FC236}">
                <a16:creationId xmlns:a16="http://schemas.microsoft.com/office/drawing/2014/main" id="{9E3364BB-BEC1-422C-BBE5-5FB5E13C935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880475" y="2157413"/>
            <a:ext cx="712788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313026-CD90-4D2F-B20B-DB8005B73DA5}" type="datetime'''''''''''o''''k''''''''''''''t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kt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57" name="Text Placeholder 2">
            <a:extLst>
              <a:ext uri="{FF2B5EF4-FFF2-40B4-BE49-F238E27FC236}">
                <a16:creationId xmlns:a16="http://schemas.microsoft.com/office/drawing/2014/main" id="{525CF94C-1EB6-4AC0-9991-DB3AB5D7B28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593263" y="2157413"/>
            <a:ext cx="690563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24A475-57AB-4DF4-AFA1-B85C36CD17D0}" type="datetime'n''''''''''''''''''''o''''''''''''''''''''''''v''''''''''''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6CC34027-EDC8-4E89-8E80-2F3402CDF23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283825" y="2157413"/>
            <a:ext cx="714375" cy="212725"/>
          </a:xfrm>
          <a:prstGeom prst="rect">
            <a:avLst/>
          </a:prstGeom>
          <a:solidFill>
            <a:srgbClr val="53565A"/>
          </a:solidFill>
          <a:ln w="9525" algn="ctr">
            <a:solidFill>
              <a:schemeClr val="tx1"/>
            </a:solidFill>
          </a:ln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C9F50C-CEEA-4B0A-850C-2A030A696F21}" type="datetime'''''''d''''''''''es'''''''''''''''''''''''''''''''">
              <a:rPr lang="en-US" altLang="en-US" sz="1200" b="1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s</a:t>
            </a:fld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12C3D357-5074-4315-A71B-68FDF05246FD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8880475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C072D316-FFF3-4E6C-90CD-2E575B3383E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761163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83EF2314-F568-47BD-9DA4-04253E39101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475538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8D9C6BB5-A1EC-49E7-8E15-3E12A9BA30C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188325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340E8C5-649C-4BD5-B8AF-3BDA24718AE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070600" y="2370138"/>
            <a:ext cx="0" cy="2959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CDAB264E-6319-4EB4-8B9F-4AB2EF3C8BF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283825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EC389AEB-E9C0-4DF6-992A-94865661E3F0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593263" y="2370138"/>
            <a:ext cx="0" cy="295910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A816D935-EF65-4597-A68C-250CF56B07E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0998200" y="2370138"/>
            <a:ext cx="0" cy="2959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B07A9071-FE86-454E-979A-BC74D0C21823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581525" y="2370138"/>
            <a:ext cx="0" cy="295910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B51FAEF-4E65-4C42-9DC6-998F283C3F65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581526" y="5329238"/>
            <a:ext cx="64166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2A485D0A-F857-4228-884F-16D633A4649F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4581526" y="2370138"/>
            <a:ext cx="641667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4BB99A11-FF42-4699-A4AA-AF09329A2E5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188325" y="4064000"/>
            <a:ext cx="1404938" cy="247650"/>
          </a:xfrm>
          <a:prstGeom prst="homePlate">
            <a:avLst>
              <a:gd name="adj" fmla="val 17949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</a:ln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593263" y="4740275"/>
            <a:ext cx="1395413" cy="247650"/>
          </a:xfrm>
          <a:prstGeom prst="homePlate">
            <a:avLst>
              <a:gd name="adj" fmla="val 17949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</a:ln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BB53152B-EB8F-45AA-94AD-8A6A2BB1701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070600" y="2711450"/>
            <a:ext cx="690563" cy="247650"/>
          </a:xfrm>
          <a:prstGeom prst="homePlate">
            <a:avLst>
              <a:gd name="adj" fmla="val 17949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</a:ln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7FDA34D1-B467-4210-8789-2727BA87F2C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475538" y="3387725"/>
            <a:ext cx="1404938" cy="247650"/>
          </a:xfrm>
          <a:prstGeom prst="homePlate">
            <a:avLst>
              <a:gd name="adj" fmla="val 17949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</a:ln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1" name="Right Bracket 310">
            <a:extLst>
              <a:ext uri="{FF2B5EF4-FFF2-40B4-BE49-F238E27FC236}">
                <a16:creationId xmlns:a16="http://schemas.microsoft.com/office/drawing/2014/main" id="{E9F34F78-A29A-4C34-AAA0-3CE850CC43A8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 rot="5400000">
            <a:off x="7064375" y="5062538"/>
            <a:ext cx="107950" cy="714375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2" name="Isosceles Triangle 311">
            <a:extLst>
              <a:ext uri="{FF2B5EF4-FFF2-40B4-BE49-F238E27FC236}">
                <a16:creationId xmlns:a16="http://schemas.microsoft.com/office/drawing/2014/main" id="{EAC27AB2-95B5-4DF2-8844-BE29A787F3F1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 rot="10800000">
            <a:off x="7011988" y="547370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8" name="Diamond 317">
            <a:extLst>
              <a:ext uri="{FF2B5EF4-FFF2-40B4-BE49-F238E27FC236}">
                <a16:creationId xmlns:a16="http://schemas.microsoft.com/office/drawing/2014/main" id="{08EB648A-DE25-492D-931A-87B9AF54697C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0941050" y="4806950"/>
            <a:ext cx="114300" cy="114300"/>
          </a:xfrm>
          <a:prstGeom prst="diamond">
            <a:avLst/>
          </a:prstGeom>
          <a:solidFill>
            <a:srgbClr val="FFCD00"/>
          </a:solidFill>
          <a:ln w="9525" cap="flat" cmpd="sng" algn="ctr">
            <a:solidFill>
              <a:srgbClr val="FFCD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641850" y="4781550"/>
            <a:ext cx="13684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Roll-out to produc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641850" y="2181225"/>
            <a:ext cx="5826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b="1" dirty="0"/>
              <a:t>Activities</a:t>
            </a:r>
            <a:endParaRPr lang="en-US" sz="1200" b="1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641850" y="4105275"/>
            <a:ext cx="4318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Testing</a:t>
            </a:r>
            <a:endParaRPr lang="en-US" sz="12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641850" y="3429000"/>
            <a:ext cx="83502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Development</a:t>
            </a:r>
            <a:endParaRPr lang="en-US" sz="1200" dirty="0"/>
          </a:p>
        </p:txBody>
      </p:sp>
      <p:sp useBgFill="1">
        <p:nvSpPr>
          <p:cNvPr id="316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1096625" y="4699000"/>
            <a:ext cx="409575" cy="330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NTNU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go-live</a:t>
            </a:r>
            <a:endParaRPr lang="en-US" sz="1200" dirty="0"/>
          </a:p>
        </p:txBody>
      </p:sp>
      <p:sp useBgFill="1">
        <p:nvSpPr>
          <p:cNvPr id="309" name="Text Placeholder 2">
            <a:extLst>
              <a:ext uri="{FF2B5EF4-FFF2-40B4-BE49-F238E27FC236}">
                <a16:creationId xmlns:a16="http://schemas.microsoft.com/office/drawing/2014/main" id="{147CF8BC-20B1-41DC-A947-D01D2D23E53A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710363" y="5599113"/>
            <a:ext cx="815975" cy="330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200" dirty="0"/>
              <a:t>Holiday for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BOTT-projec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2A65B8C4-6750-4926-826C-65B97A5E7CF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641850" y="2752725"/>
            <a:ext cx="10842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/>
              <a:t>Functional desig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40F106-8D25-4186-8C12-9DB3EBB2E127}"/>
              </a:ext>
            </a:extLst>
          </p:cNvPr>
          <p:cNvSpPr txBox="1"/>
          <p:nvPr/>
        </p:nvSpPr>
        <p:spPr>
          <a:xfrm>
            <a:off x="893540" y="2582614"/>
            <a:ext cx="3331591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NTNU will need external invoicing before go-live 01.01.2022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re will be limited time during the fall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We should aim for finishing internal invoicing activities before July in order to start development of external invoicing</a:t>
            </a:r>
          </a:p>
        </p:txBody>
      </p:sp>
    </p:spTree>
    <p:extLst>
      <p:ext uri="{BB962C8B-B14F-4D97-AF65-F5344CB8AC3E}">
        <p14:creationId xmlns:p14="http://schemas.microsoft.com/office/powerpoint/2010/main" val="455755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A1A616-5D2B-4272-AE8C-25F48B9B5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098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A1A616-5D2B-4272-AE8C-25F48B9B5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70383C-115B-474C-AEB6-F19C3CAA2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6090"/>
            <a:ext cx="10515600" cy="1325563"/>
          </a:xfrm>
        </p:spPr>
        <p:txBody>
          <a:bodyPr vert="horz">
            <a:normAutofit fontScale="90000"/>
          </a:bodyPr>
          <a:lstStyle/>
          <a:p>
            <a:r>
              <a:rPr lang="nb-NO" sz="4900" b="1" dirty="0"/>
              <a:t>3. </a:t>
            </a:r>
            <a:r>
              <a:rPr lang="en-US" sz="4900" b="1" dirty="0"/>
              <a:t>Milestones and deadlines | </a:t>
            </a:r>
            <a:r>
              <a:rPr lang="en-US" sz="4900" dirty="0"/>
              <a:t>An overall plan for finishing internal invoicing</a:t>
            </a:r>
            <a:br>
              <a:rPr lang="en-US" b="1" dirty="0"/>
            </a:br>
            <a:br>
              <a:rPr lang="nb-NO" b="1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33427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924385-D24C-4542-B4A4-14AFABE43D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4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924385-D24C-4542-B4A4-14AFABE43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FE70502-D4DD-48B6-A730-394845397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ilestones and suggested deadlin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7515F42-731B-432F-A16F-199A205F5E6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1826159"/>
              </p:ext>
            </p:extLst>
          </p:nvPr>
        </p:nvGraphicFramePr>
        <p:xfrm>
          <a:off x="838200" y="1542247"/>
          <a:ext cx="10515600" cy="47019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8175">
                  <a:extLst>
                    <a:ext uri="{9D8B030D-6E8A-4147-A177-3AD203B41FA5}">
                      <a16:colId xmlns:a16="http://schemas.microsoft.com/office/drawing/2014/main" val="170486496"/>
                    </a:ext>
                  </a:extLst>
                </a:gridCol>
                <a:gridCol w="3277565">
                  <a:extLst>
                    <a:ext uri="{9D8B030D-6E8A-4147-A177-3AD203B41FA5}">
                      <a16:colId xmlns:a16="http://schemas.microsoft.com/office/drawing/2014/main" val="981561647"/>
                    </a:ext>
                  </a:extLst>
                </a:gridCol>
                <a:gridCol w="1957870">
                  <a:extLst>
                    <a:ext uri="{9D8B030D-6E8A-4147-A177-3AD203B41FA5}">
                      <a16:colId xmlns:a16="http://schemas.microsoft.com/office/drawing/2014/main" val="3816482949"/>
                    </a:ext>
                  </a:extLst>
                </a:gridCol>
                <a:gridCol w="2098815">
                  <a:extLst>
                    <a:ext uri="{9D8B030D-6E8A-4147-A177-3AD203B41FA5}">
                      <a16:colId xmlns:a16="http://schemas.microsoft.com/office/drawing/2014/main" val="3599568121"/>
                    </a:ext>
                  </a:extLst>
                </a:gridCol>
                <a:gridCol w="995845">
                  <a:extLst>
                    <a:ext uri="{9D8B030D-6E8A-4147-A177-3AD203B41FA5}">
                      <a16:colId xmlns:a16="http://schemas.microsoft.com/office/drawing/2014/main" val="874667332"/>
                    </a:ext>
                  </a:extLst>
                </a:gridCol>
                <a:gridCol w="1547330">
                  <a:extLst>
                    <a:ext uri="{9D8B030D-6E8A-4147-A177-3AD203B41FA5}">
                      <a16:colId xmlns:a16="http://schemas.microsoft.com/office/drawing/2014/main" val="792074220"/>
                    </a:ext>
                  </a:extLst>
                </a:gridCol>
              </a:tblGrid>
              <a:tr h="235568"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ata flow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ileston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tatu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c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Responsible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Suggested deadlin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40975041"/>
                  </a:ext>
                </a:extLst>
              </a:tr>
              <a:tr h="382242">
                <a:tc rowSpan="3"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1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PI is set up and ready to te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Currently in QA and soon ready for testing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Will set up a test sess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762514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 unit testing of API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 be decided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ne 9th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08415607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nd to end test of the K1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 be decided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ll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shop: June 10th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7578362"/>
                  </a:ext>
                </a:extLst>
              </a:tr>
              <a:tr h="293349">
                <a:tc rowSpan="5"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2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BookitLab</a:t>
                      </a:r>
                      <a:r>
                        <a:rPr lang="en-US" sz="1000" dirty="0">
                          <a:effectLst/>
                        </a:rPr>
                        <a:t> API to get active projects is set up and ready to te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elivered and awaiting testing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/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7590468"/>
                  </a:ext>
                </a:extLst>
              </a:tr>
              <a:tr h="29334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 err="1">
                          <a:effectLst/>
                        </a:rPr>
                        <a:t>BookitLab</a:t>
                      </a:r>
                      <a:r>
                        <a:rPr lang="en-US" sz="1000" dirty="0">
                          <a:effectLst/>
                        </a:rPr>
                        <a:t> API to put project data is set up and ready to te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elivered and awaiting testing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21373556"/>
                  </a:ext>
                </a:extLst>
              </a:tr>
              <a:tr h="528916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icroservice for batch update is set up and ready to te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In peer review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Will set up a meeting with BOTT-INT and Prog4Biz to go through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shops:</a:t>
                      </a:r>
                    </a:p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June 10th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56105544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evelopers test with synthetic data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ll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52597093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nd to end test with realistic data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ll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Workshop: June 17</a:t>
                      </a:r>
                      <a:r>
                        <a:rPr lang="en-US" sz="1000" baseline="30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h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32640102"/>
                  </a:ext>
                </a:extLst>
              </a:tr>
              <a:tr h="235568">
                <a:tc rowSpan="3"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4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PI is set up and ready to te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Delivered and ready for testing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/>
                      <a:endParaRPr lang="en-US" sz="9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98019502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 unit testing of API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et up a call if needed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rog4Biz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B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36450358"/>
                  </a:ext>
                </a:extLst>
              </a:tr>
              <a:tr h="235568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nd to end test of the K4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o be decided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All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B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85494747"/>
                  </a:ext>
                </a:extLst>
              </a:tr>
              <a:tr h="675591">
                <a:tc rowSpan="3"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K5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art 1: API for sending batch import status to </a:t>
                      </a:r>
                      <a:r>
                        <a:rPr lang="en-US" sz="1000" dirty="0" err="1">
                          <a:effectLst/>
                        </a:rPr>
                        <a:t>BookitLab</a:t>
                      </a:r>
                      <a:r>
                        <a:rPr lang="en-US" sz="1000" dirty="0">
                          <a:effectLst/>
                        </a:rPr>
                        <a:t> is set up and ready for testing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art 1: Need an API for sending batch status/error 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 have offered to define the API 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/Prog4Biz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B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27901620"/>
                  </a:ext>
                </a:extLst>
              </a:tr>
              <a:tr h="29334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art 2: Set up error message reporting through </a:t>
                      </a:r>
                      <a:r>
                        <a:rPr lang="en-US" sz="1000" dirty="0" err="1">
                          <a:effectLst/>
                        </a:rPr>
                        <a:t>TopDesk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OTT-I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B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85758154"/>
                  </a:ext>
                </a:extLst>
              </a:tr>
              <a:tr h="293349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End to end test of K5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47" marR="44447" marT="44447" marB="44447"/>
                </a:tc>
                <a:tc>
                  <a:txBody>
                    <a:bodyPr/>
                    <a:lstStyle/>
                    <a:p>
                      <a:pPr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BOTT INT/Prog4Biz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rtl="0"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TBC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999821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250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4A1A616-5D2B-4272-AE8C-25F48B9B5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695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4A1A616-5D2B-4272-AE8C-25F48B9B5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470383C-115B-474C-AEB6-F19C3CAA2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6090"/>
            <a:ext cx="10515600" cy="1325563"/>
          </a:xfrm>
        </p:spPr>
        <p:txBody>
          <a:bodyPr vert="horz">
            <a:normAutofit fontScale="90000"/>
          </a:bodyPr>
          <a:lstStyle/>
          <a:p>
            <a:r>
              <a:rPr lang="nb-NO" sz="4900" b="1" dirty="0"/>
              <a:t>4. </a:t>
            </a:r>
            <a:r>
              <a:rPr lang="en-US" sz="4900" b="1" dirty="0"/>
              <a:t>Next steps | </a:t>
            </a:r>
            <a:r>
              <a:rPr lang="en-US" sz="4900" dirty="0"/>
              <a:t>What happens now?</a:t>
            </a:r>
            <a:br>
              <a:rPr lang="en-US" b="1" dirty="0"/>
            </a:br>
            <a:br>
              <a:rPr lang="en-US" b="1" dirty="0"/>
            </a:br>
            <a:br>
              <a:rPr lang="nb-NO" b="1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8418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10OI5SJHHB2amnjHY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10OI5SJHHB2amnjHY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iwaekBUogb0pWr5cCE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G10OI5SJHHB2amnjHY1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hzeEHHQV6VHBBLqSuI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Db07Yr45hYu6z3Yh.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AnSW.Q31rQ7jnatgru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s7._Uxs8_q29z5_d9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hsylkJEnP90tbq09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kjz4GyLjifUKb25Qk9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8wfLEnrtdm3.bAe.sj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cDvZF0m0sE3UXgDfqX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SVPsZMx7jZF634oTQV9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lOqE8hqkEXGvvPek7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OVzUsu8JFiFq5jq9mr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J_WzPK0IdMdqXNbXN1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RFxWyZWPgtFxpMGZz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C598dE359BFmE_fIDK4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lJumiYK.Vg6VaIZI.11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IZHrODc8f1y27KjjCr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vXmj.Eped4pvVHPrW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TrDjlGPs00qOTs_fGc6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kNQEl0fuBbdbLadBpY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f2y4VK3ifzpiEvNxB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gapF4qBR4V7WmTdpz3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QHIDQ9FyHaByssikVn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XdyhxiEtU5Kxu8UxoYO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sdPI0iv3QQYy8Z0AQd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CYyTBP5Kp2bVWBPeZp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xp5SvFYJIVe92jwYKs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WfgrHUSzu2CCMihekV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kPNpD8IdIoHLTZSHoC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pPXZ72MzHtYSBl3O8L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tJ7OcgV5SjGzyE7xm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NdciJZlyL.7zGcKMGT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Mra_hlvkm_xHiohxZK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AsFP7_VuA2EddbN.WKj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32756D"/>
      </a:dk2>
      <a:lt2>
        <a:srgbClr val="EEF2F5"/>
      </a:lt2>
      <a:accent1>
        <a:srgbClr val="32756D"/>
      </a:accent1>
      <a:accent2>
        <a:srgbClr val="9EC5AB"/>
      </a:accent2>
      <a:accent3>
        <a:srgbClr val="A5A5A5"/>
      </a:accent3>
      <a:accent4>
        <a:srgbClr val="BCCCA8"/>
      </a:accent4>
      <a:accent5>
        <a:srgbClr val="9A00B7"/>
      </a:accent5>
      <a:accent6>
        <a:srgbClr val="32756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BOTTpresentasjon.pptx" id="{AF0E60BD-BFDB-41EB-8652-12729C8F38C0}" vid="{5969467D-88D6-436A-8AAB-6CFF44F783FE}"/>
    </a:ext>
  </a:extLst>
</a:theme>
</file>

<file path=ppt/theme/theme2.xml><?xml version="1.0" encoding="utf-8"?>
<a:theme xmlns:a="http://schemas.openxmlformats.org/drawingml/2006/main" name="1_Office Theme">
  <a:themeElements>
    <a:clrScheme name="Custom 2">
      <a:dk1>
        <a:sysClr val="windowText" lastClr="000000"/>
      </a:dk1>
      <a:lt1>
        <a:sysClr val="window" lastClr="FFFFFF"/>
      </a:lt1>
      <a:dk2>
        <a:srgbClr val="32756D"/>
      </a:dk2>
      <a:lt2>
        <a:srgbClr val="EEF2F5"/>
      </a:lt2>
      <a:accent1>
        <a:srgbClr val="32756D"/>
      </a:accent1>
      <a:accent2>
        <a:srgbClr val="9EC5AB"/>
      </a:accent2>
      <a:accent3>
        <a:srgbClr val="A5A5A5"/>
      </a:accent3>
      <a:accent4>
        <a:srgbClr val="BCCCA8"/>
      </a:accent4>
      <a:accent5>
        <a:srgbClr val="9A00B7"/>
      </a:accent5>
      <a:accent6>
        <a:srgbClr val="32756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BOTTpresentasjon.pptx" id="{AF0E60BD-BFDB-41EB-8652-12729C8F38C0}" vid="{5969467D-88D6-436A-8AAB-6CFF44F783FE}"/>
    </a:ext>
  </a:extLst>
</a:theme>
</file>

<file path=ppt/theme/theme3.xml><?xml version="1.0" encoding="utf-8"?>
<a:theme xmlns:a="http://schemas.openxmlformats.org/drawingml/2006/main" name="2_Office Theme">
  <a:themeElements>
    <a:clrScheme name="Custom 2">
      <a:dk1>
        <a:sysClr val="windowText" lastClr="000000"/>
      </a:dk1>
      <a:lt1>
        <a:sysClr val="window" lastClr="FFFFFF"/>
      </a:lt1>
      <a:dk2>
        <a:srgbClr val="32756D"/>
      </a:dk2>
      <a:lt2>
        <a:srgbClr val="EEF2F5"/>
      </a:lt2>
      <a:accent1>
        <a:srgbClr val="32756D"/>
      </a:accent1>
      <a:accent2>
        <a:srgbClr val="9EC5AB"/>
      </a:accent2>
      <a:accent3>
        <a:srgbClr val="A5A5A5"/>
      </a:accent3>
      <a:accent4>
        <a:srgbClr val="BCCCA8"/>
      </a:accent4>
      <a:accent5>
        <a:srgbClr val="9A00B7"/>
      </a:accent5>
      <a:accent6>
        <a:srgbClr val="32756D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BOTTpresentasjon.pptx" id="{AF0E60BD-BFDB-41EB-8652-12729C8F38C0}" vid="{5969467D-88D6-436A-8AAB-6CFF44F783FE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3721D61CED5F4DA8594DECFDE4CCC6" ma:contentTypeVersion="13" ma:contentTypeDescription="Create a new document." ma:contentTypeScope="" ma:versionID="a7f03685d3d383e8b2a97b0cc5c37fa6">
  <xsd:schema xmlns:xsd="http://www.w3.org/2001/XMLSchema" xmlns:xs="http://www.w3.org/2001/XMLSchema" xmlns:p="http://schemas.microsoft.com/office/2006/metadata/properties" xmlns:ns3="bea9f0e7-c923-4160-b564-82421ee234ff" xmlns:ns4="e75b239a-1c83-4c3c-af5c-024e5bdcb4f3" targetNamespace="http://schemas.microsoft.com/office/2006/metadata/properties" ma:root="true" ma:fieldsID="0728fa412deac72918350803aacb11c5" ns3:_="" ns4:_="">
    <xsd:import namespace="bea9f0e7-c923-4160-b564-82421ee234ff"/>
    <xsd:import namespace="e75b239a-1c83-4c3c-af5c-024e5bdcb4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9f0e7-c923-4160-b564-82421ee234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5b239a-1c83-4c3c-af5c-024e5bdcb4f3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F2F406-D3C8-478C-A69A-8B1293BA8D9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AE20ABA-34BD-436A-BEA6-E6776C2C512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E3FEF62-A9AB-4ABC-AE84-C2B93F5E36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a9f0e7-c923-4160-b564-82421ee234ff"/>
    <ds:schemaRef ds:uri="e75b239a-1c83-4c3c-af5c-024e5bdcb4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07</TotalTime>
  <Words>608</Words>
  <Application>Microsoft Office PowerPoint</Application>
  <PresentationFormat>Widescreen</PresentationFormat>
  <Paragraphs>155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Calibri Light</vt:lpstr>
      <vt:lpstr>Maersk Text</vt:lpstr>
      <vt:lpstr>Times New Roman</vt:lpstr>
      <vt:lpstr>Verdana</vt:lpstr>
      <vt:lpstr>Wingdings 2</vt:lpstr>
      <vt:lpstr>Office Theme</vt:lpstr>
      <vt:lpstr>1_Office Theme</vt:lpstr>
      <vt:lpstr>2_Office Theme</vt:lpstr>
      <vt:lpstr>think-cell Slide</vt:lpstr>
      <vt:lpstr>Prog4Biz/BOTT</vt:lpstr>
      <vt:lpstr>Agenda</vt:lpstr>
      <vt:lpstr>1. Introduction | Round-table introductions </vt:lpstr>
      <vt:lpstr>2. BOTT update | Integration for external invoicing </vt:lpstr>
      <vt:lpstr>BOTT update</vt:lpstr>
      <vt:lpstr>Timeline: Sales order/ external invoicing</vt:lpstr>
      <vt:lpstr>3. Milestones and deadlines | An overall plan for finishing internal invoicing  </vt:lpstr>
      <vt:lpstr>Milestones and suggested deadlines</vt:lpstr>
      <vt:lpstr>4. Next steps | What happens now?   </vt:lpstr>
      <vt:lpstr>What happens now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ethe Borvik Holmstrøm</dc:creator>
  <cp:lastModifiedBy>Tysland, Linn Alexandra</cp:lastModifiedBy>
  <cp:revision>61</cp:revision>
  <dcterms:created xsi:type="dcterms:W3CDTF">2020-05-26T07:42:06Z</dcterms:created>
  <dcterms:modified xsi:type="dcterms:W3CDTF">2021-06-01T11:4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3721D61CED5F4DA8594DECFDE4CCC6</vt:lpwstr>
  </property>
</Properties>
</file>